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1" r:id="rId5"/>
    <p:sldMasterId id="2147483648" r:id="rId6"/>
    <p:sldMasterId id="2147483757" r:id="rId7"/>
    <p:sldMasterId id="2147483759" r:id="rId8"/>
  </p:sldMasterIdLst>
  <p:notesMasterIdLst>
    <p:notesMasterId r:id="rId23"/>
  </p:notesMasterIdLst>
  <p:handoutMasterIdLst>
    <p:handoutMasterId r:id="rId24"/>
  </p:handoutMasterIdLst>
  <p:sldIdLst>
    <p:sldId id="259" r:id="rId9"/>
    <p:sldId id="274" r:id="rId10"/>
    <p:sldId id="282" r:id="rId11"/>
    <p:sldId id="283" r:id="rId12"/>
    <p:sldId id="284" r:id="rId13"/>
    <p:sldId id="285" r:id="rId14"/>
    <p:sldId id="286" r:id="rId15"/>
    <p:sldId id="289" r:id="rId16"/>
    <p:sldId id="291" r:id="rId17"/>
    <p:sldId id="292" r:id="rId18"/>
    <p:sldId id="290" r:id="rId19"/>
    <p:sldId id="287" r:id="rId20"/>
    <p:sldId id="288" r:id="rId21"/>
    <p:sldId id="281" r:id="rId22"/>
  </p:sldIdLst>
  <p:sldSz cx="12192000" cy="6858000"/>
  <p:notesSz cx="6881813" cy="9296400"/>
  <p:custDataLst>
    <p:tags r:id="rId25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840" userDrawn="1">
          <p15:clr>
            <a:srgbClr val="A4A3A4"/>
          </p15:clr>
        </p15:guide>
        <p15:guide id="4" pos="7296" userDrawn="1">
          <p15:clr>
            <a:srgbClr val="A4A3A4"/>
          </p15:clr>
        </p15:guide>
        <p15:guide id="5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drew Watkins" initials="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D7DC"/>
    <a:srgbClr val="EE2E36"/>
    <a:srgbClr val="BED6FA"/>
    <a:srgbClr val="006ED2"/>
    <a:srgbClr val="FFF014"/>
    <a:srgbClr val="84C447"/>
    <a:srgbClr val="00A5DC"/>
    <a:srgbClr val="F2F2F2"/>
    <a:srgbClr val="646464"/>
    <a:srgbClr val="7AB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92" autoAdjust="0"/>
    <p:restoredTop sz="91786" autoAdjust="0"/>
  </p:normalViewPr>
  <p:slideViewPr>
    <p:cSldViewPr snapToGrid="0" snapToObjects="1">
      <p:cViewPr>
        <p:scale>
          <a:sx n="68" d="100"/>
          <a:sy n="68" d="100"/>
        </p:scale>
        <p:origin x="684" y="318"/>
      </p:cViewPr>
      <p:guideLst>
        <p:guide pos="3840"/>
        <p:guide pos="7296"/>
        <p:guide orient="horz" pos="2160"/>
      </p:guideLst>
    </p:cSldViewPr>
  </p:slideViewPr>
  <p:outlineViewPr>
    <p:cViewPr>
      <p:scale>
        <a:sx n="33" d="100"/>
        <a:sy n="33" d="100"/>
      </p:scale>
      <p:origin x="38816" y="2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2842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2119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8103" y="0"/>
            <a:ext cx="2982119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EAE6261-4C6F-4D7B-A81B-BE259EABF6AE}" type="datetimeFigureOut">
              <a:rPr lang="en-US" smtClean="0"/>
              <a:t>3/23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969"/>
            <a:ext cx="2982119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8103" y="8829969"/>
            <a:ext cx="2982119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3A68F1D-D919-4CD4-B335-5D988CDC4D8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5611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2119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3" y="0"/>
            <a:ext cx="2982119" cy="464820"/>
          </a:xfrm>
          <a:prstGeom prst="rect">
            <a:avLst/>
          </a:prstGeom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3384DE73-D098-4AA5-B771-ED01E99A6FB8}" type="datetimeFigureOut">
              <a:rPr lang="en-US" altLang="en-US"/>
              <a:pPr>
                <a:defRPr/>
              </a:pPr>
              <a:t>3/23/2018</a:t>
            </a:fld>
            <a:endParaRPr lang="en-US" alt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42900" y="696913"/>
            <a:ext cx="6196013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15791"/>
            <a:ext cx="550545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967"/>
            <a:ext cx="2982119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3" y="8829967"/>
            <a:ext cx="2982119" cy="464820"/>
          </a:xfrm>
          <a:prstGeom prst="rect">
            <a:avLst/>
          </a:prstGeom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D45ACB81-A152-4D3C-825B-A4E3A1317E49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3437510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parse data example: air quality data – EPA collection sites around Chicago</a:t>
            </a:r>
          </a:p>
          <a:p>
            <a:r>
              <a:rPr lang="en-US" dirty="0"/>
              <a:t>New functionality needed example – computer vision capabilities to better understand interactions in intersections (near misses) and create safer stree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5ACB81-A152-4D3C-825B-A4E3A1317E49}" type="slidenum">
              <a:rPr lang="en-US" altLang="en-US" smtClean="0"/>
              <a:pPr>
                <a:defRPr/>
              </a:pPr>
              <a:t>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963456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9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2CB7E817-1B3E-4293-B206-0071DD21C0F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2704624"/>
            <a:ext cx="10515600" cy="566757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 cap="all" spc="54" baseline="0">
                <a:solidFill>
                  <a:schemeClr val="accent3"/>
                </a:solidFill>
                <a:latin typeface="+mj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05E05FEF-CD7F-41E3-A554-B2AB0CA1BB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3387003"/>
            <a:ext cx="10515600" cy="566757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ts val="1800"/>
              </a:lnSpc>
              <a:spcBef>
                <a:spcPts val="0"/>
              </a:spcBef>
              <a:buNone/>
              <a:defRPr sz="1400" b="0" cap="all" spc="54" baseline="0">
                <a:solidFill>
                  <a:schemeClr val="accent3"/>
                </a:solidFill>
                <a:latin typeface="+mj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9DC6D5-5A40-4E9A-97AB-61C5D0C2217D}"/>
              </a:ext>
            </a:extLst>
          </p:cNvPr>
          <p:cNvSpPr/>
          <p:nvPr userDrawn="1"/>
        </p:nvSpPr>
        <p:spPr>
          <a:xfrm>
            <a:off x="0" y="6063820"/>
            <a:ext cx="12192000" cy="79418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16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947493-80D8-453B-A037-646DDFB1341E}"/>
              </a:ext>
            </a:extLst>
          </p:cNvPr>
          <p:cNvCxnSpPr/>
          <p:nvPr userDrawn="1"/>
        </p:nvCxnSpPr>
        <p:spPr>
          <a:xfrm>
            <a:off x="5600700" y="2613140"/>
            <a:ext cx="99060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978C77EC-1B4E-4D65-894C-37903B7FD5EE}"/>
              </a:ext>
            </a:extLst>
          </p:cNvPr>
          <p:cNvSpPr txBox="1"/>
          <p:nvPr userDrawn="1"/>
        </p:nvSpPr>
        <p:spPr>
          <a:xfrm>
            <a:off x="11422166" y="6403760"/>
            <a:ext cx="22424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27692F5A-FC14-4E83-B4CC-18F6C2D780A4}" type="slidenum">
              <a:rPr lang="en-US" sz="800" b="0" spc="32" baseline="0" smtClean="0">
                <a:solidFill>
                  <a:schemeClr val="bg1"/>
                </a:solidFill>
                <a:latin typeface="+mn-lt"/>
              </a:rPr>
              <a:pPr algn="ctr"/>
              <a:t>‹#›</a:t>
            </a:fld>
            <a:endParaRPr lang="en-US" sz="800" b="0" spc="32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Freeform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63F5F666-18B9-40C8-A829-B96EE2AC9CF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646408" y="6384969"/>
            <a:ext cx="164592" cy="164592"/>
          </a:xfrm>
          <a:custGeom>
            <a:avLst/>
            <a:gdLst>
              <a:gd name="T0" fmla="*/ 883 w 2350"/>
              <a:gd name="T1" fmla="*/ 679 h 2350"/>
              <a:gd name="T2" fmla="*/ 1338 w 2350"/>
              <a:gd name="T3" fmla="*/ 1175 h 2350"/>
              <a:gd name="T4" fmla="*/ 883 w 2350"/>
              <a:gd name="T5" fmla="*/ 1671 h 2350"/>
              <a:gd name="T6" fmla="*/ 883 w 2350"/>
              <a:gd name="T7" fmla="*/ 1813 h 2350"/>
              <a:gd name="T8" fmla="*/ 1023 w 2350"/>
              <a:gd name="T9" fmla="*/ 1813 h 2350"/>
              <a:gd name="T10" fmla="*/ 1579 w 2350"/>
              <a:gd name="T11" fmla="*/ 1246 h 2350"/>
              <a:gd name="T12" fmla="*/ 1579 w 2350"/>
              <a:gd name="T13" fmla="*/ 1104 h 2350"/>
              <a:gd name="T14" fmla="*/ 1023 w 2350"/>
              <a:gd name="T15" fmla="*/ 537 h 2350"/>
              <a:gd name="T16" fmla="*/ 883 w 2350"/>
              <a:gd name="T17" fmla="*/ 537 h 2350"/>
              <a:gd name="T18" fmla="*/ 883 w 2350"/>
              <a:gd name="T19" fmla="*/ 679 h 2350"/>
              <a:gd name="T20" fmla="*/ 0 w 2350"/>
              <a:gd name="T21" fmla="*/ 1175 h 2350"/>
              <a:gd name="T22" fmla="*/ 1175 w 2350"/>
              <a:gd name="T23" fmla="*/ 2350 h 2350"/>
              <a:gd name="T24" fmla="*/ 2350 w 2350"/>
              <a:gd name="T25" fmla="*/ 1175 h 2350"/>
              <a:gd name="T26" fmla="*/ 1175 w 2350"/>
              <a:gd name="T27" fmla="*/ 0 h 2350"/>
              <a:gd name="T28" fmla="*/ 0 w 2350"/>
              <a:gd name="T29" fmla="*/ 1175 h 2350"/>
              <a:gd name="T30" fmla="*/ 2198 w 2350"/>
              <a:gd name="T31" fmla="*/ 1175 h 2350"/>
              <a:gd name="T32" fmla="*/ 1175 w 2350"/>
              <a:gd name="T33" fmla="*/ 2198 h 2350"/>
              <a:gd name="T34" fmla="*/ 152 w 2350"/>
              <a:gd name="T35" fmla="*/ 1175 h 2350"/>
              <a:gd name="T36" fmla="*/ 1175 w 2350"/>
              <a:gd name="T37" fmla="*/ 152 h 2350"/>
              <a:gd name="T38" fmla="*/ 2198 w 2350"/>
              <a:gd name="T39" fmla="*/ 1175 h 2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50" h="235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74B0F18-998C-4717-AD82-37EAFC0B050E}"/>
              </a:ext>
            </a:extLst>
          </p:cNvPr>
          <p:cNvCxnSpPr>
            <a:cxnSpLocks/>
          </p:cNvCxnSpPr>
          <p:nvPr userDrawn="1"/>
        </p:nvCxnSpPr>
        <p:spPr>
          <a:xfrm>
            <a:off x="1105060" y="6460910"/>
            <a:ext cx="807704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9CD2A745-0B76-4E54-B85A-2A4DB68D16F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097" y="6251345"/>
            <a:ext cx="921667" cy="41912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C13A90A-64E0-460D-AC48-13956C6E30E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 rot="10800000" flipV="1">
            <a:off x="9406342" y="6010835"/>
            <a:ext cx="686210" cy="71127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840887C-15DE-41DE-B1AE-BEAD6FD0234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224413" y="6010835"/>
            <a:ext cx="702667" cy="71473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404B7F6-23CD-481B-B983-9DEFF7CCB00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86753" y="1508802"/>
            <a:ext cx="2058629" cy="93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7679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5875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A6B114E-25F2-4C22-B372-02D6AAE09F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02616"/>
            <a:ext cx="11430000" cy="34663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1" cap="all" spc="54" baseline="0">
                <a:solidFill>
                  <a:schemeClr val="accent1"/>
                </a:solidFill>
                <a:latin typeface="+mj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C85A94B-3EFA-4254-95A3-9F4A514CAD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913325"/>
            <a:ext cx="11430000" cy="11615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300"/>
              </a:lnSpc>
              <a:spcBef>
                <a:spcPts val="0"/>
              </a:spcBef>
              <a:buNone/>
              <a:defRPr sz="1600" b="0" cap="none" spc="0" baseline="0">
                <a:solidFill>
                  <a:schemeClr val="accent6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159515D-B766-4947-B320-9C27DFEC07FB}"/>
              </a:ext>
            </a:extLst>
          </p:cNvPr>
          <p:cNvCxnSpPr>
            <a:cxnSpLocks/>
          </p:cNvCxnSpPr>
          <p:nvPr userDrawn="1"/>
        </p:nvCxnSpPr>
        <p:spPr>
          <a:xfrm>
            <a:off x="381000" y="457200"/>
            <a:ext cx="72934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65F1EBD-57F6-45AC-A8B2-B2E6D204FD2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257175" y="1200932"/>
            <a:ext cx="5648325" cy="4742668"/>
          </a:xfrm>
          <a:prstGeom prst="rect">
            <a:avLst/>
          </a:prstGeom>
          <a:noFill/>
        </p:spPr>
        <p:txBody>
          <a:bodyPr lIns="0" tIns="0" rIns="0" bIns="0"/>
          <a:lstStyle>
            <a:lvl1pPr marL="342900" indent="-227013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 sz="1400">
                <a:solidFill>
                  <a:schemeClr val="accent1"/>
                </a:solidFill>
                <a:latin typeface="+mj-lt"/>
              </a:defRPr>
            </a:lvl1pPr>
            <a:lvl2pPr marL="742950" indent="-28575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400">
                <a:solidFill>
                  <a:schemeClr val="accent5"/>
                </a:solidFill>
                <a:latin typeface="+mj-lt"/>
              </a:defRPr>
            </a:lvl2pPr>
            <a:lvl3pPr marL="1143000" indent="-2286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5000"/>
              <a:buFont typeface="Wingdings" panose="05000000000000000000" pitchFamily="2" charset="2"/>
              <a:buChar char="§"/>
              <a:defRPr sz="1200" b="0">
                <a:solidFill>
                  <a:schemeClr val="accent1"/>
                </a:solidFill>
                <a:latin typeface="Calibri Light" panose="020F0302020204030204" pitchFamily="34" charset="0"/>
              </a:defRPr>
            </a:lvl3pPr>
            <a:lvl4pPr marL="1600200" indent="-22860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5000"/>
              <a:buFont typeface="Calibri Light" panose="020F0302020204030204" pitchFamily="34" charset="0"/>
              <a:buChar char="»"/>
              <a:defRPr>
                <a:solidFill>
                  <a:schemeClr val="accent1"/>
                </a:solidFill>
              </a:defRPr>
            </a:lvl4pPr>
            <a:lvl5pPr marL="2057400" indent="-2286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5000"/>
              <a:buFont typeface="Wingdings" panose="05000000000000000000" pitchFamily="2" charset="2"/>
              <a:buChar char="§"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638AE2E-F4B5-420E-AF8F-2C914C7E2F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162675" y="1200932"/>
            <a:ext cx="5648325" cy="4742668"/>
          </a:xfrm>
          <a:prstGeom prst="rect">
            <a:avLst/>
          </a:prstGeom>
          <a:noFill/>
        </p:spPr>
        <p:txBody>
          <a:bodyPr lIns="0" tIns="0" rIns="0" bIns="0"/>
          <a:lstStyle>
            <a:lvl1pPr marL="342900" indent="-227013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 sz="1400">
                <a:solidFill>
                  <a:schemeClr val="accent1"/>
                </a:solidFill>
                <a:latin typeface="+mj-lt"/>
              </a:defRPr>
            </a:lvl1pPr>
            <a:lvl2pPr marL="742950" indent="-28575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400">
                <a:solidFill>
                  <a:schemeClr val="accent5"/>
                </a:solidFill>
                <a:latin typeface="+mj-lt"/>
              </a:defRPr>
            </a:lvl2pPr>
            <a:lvl3pPr marL="1143000" indent="-2286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5000"/>
              <a:buFont typeface="Wingdings" panose="05000000000000000000" pitchFamily="2" charset="2"/>
              <a:buChar char="§"/>
              <a:defRPr sz="1200" b="0">
                <a:solidFill>
                  <a:schemeClr val="accent1"/>
                </a:solidFill>
                <a:latin typeface="Calibri Light" panose="020F0302020204030204" pitchFamily="34" charset="0"/>
              </a:defRPr>
            </a:lvl3pPr>
            <a:lvl4pPr marL="1600200" indent="-22860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5000"/>
              <a:buFont typeface="Calibri Light" panose="020F0302020204030204" pitchFamily="34" charset="0"/>
              <a:buChar char="»"/>
              <a:defRPr>
                <a:solidFill>
                  <a:schemeClr val="accent1"/>
                </a:solidFill>
              </a:defRPr>
            </a:lvl4pPr>
            <a:lvl5pPr marL="2057400" indent="-2286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5000"/>
              <a:buFont typeface="Wingdings" panose="05000000000000000000" pitchFamily="2" charset="2"/>
              <a:buChar char="§"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64383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1735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A6B114E-25F2-4C22-B372-02D6AAE09F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02616"/>
            <a:ext cx="11430000" cy="34663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1" cap="all" spc="54" baseline="0">
                <a:solidFill>
                  <a:schemeClr val="accent1"/>
                </a:solidFill>
                <a:latin typeface="+mj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C85A94B-3EFA-4254-95A3-9F4A514CAD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913325"/>
            <a:ext cx="11430000" cy="11615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300"/>
              </a:lnSpc>
              <a:spcBef>
                <a:spcPts val="0"/>
              </a:spcBef>
              <a:buNone/>
              <a:defRPr sz="1600" b="0" cap="none" spc="0" baseline="0">
                <a:solidFill>
                  <a:schemeClr val="accent6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159515D-B766-4947-B320-9C27DFEC07FB}"/>
              </a:ext>
            </a:extLst>
          </p:cNvPr>
          <p:cNvCxnSpPr>
            <a:cxnSpLocks/>
          </p:cNvCxnSpPr>
          <p:nvPr userDrawn="1"/>
        </p:nvCxnSpPr>
        <p:spPr>
          <a:xfrm>
            <a:off x="381000" y="457200"/>
            <a:ext cx="72934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CE782F9-7A0F-4511-9A3B-483C6ED996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267607"/>
            <a:ext cx="5524500" cy="62275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/>
          <a:lstStyle>
            <a:lvl1pPr marL="0" indent="0" algn="ctr">
              <a:lnSpc>
                <a:spcPts val="1300"/>
              </a:lnSpc>
              <a:spcBef>
                <a:spcPts val="0"/>
              </a:spcBef>
              <a:buNone/>
              <a:defRPr sz="1800" b="1" cap="none" spc="300" baseline="0">
                <a:solidFill>
                  <a:schemeClr val="bg1"/>
                </a:solidFill>
                <a:latin typeface="+mn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57FB3996-E973-47BB-9703-92C6272542F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1000" y="1890358"/>
            <a:ext cx="5524500" cy="4053241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lIns="91440" tIns="91440" bIns="91440"/>
          <a:lstStyle>
            <a:lvl1pPr marL="228600" indent="-228600">
              <a:lnSpc>
                <a:spcPts val="1800"/>
              </a:lnSpc>
              <a:buClr>
                <a:schemeClr val="accent3"/>
              </a:buClr>
              <a:buSzPct val="100000"/>
              <a:buFont typeface="Microsoft Sans Serif" panose="020B0604020202020204" pitchFamily="34" charset="0"/>
              <a:buChar char="▪"/>
              <a:defRPr sz="1400">
                <a:solidFill>
                  <a:schemeClr val="accent1"/>
                </a:solidFill>
                <a:latin typeface="+mn-lt"/>
              </a:defRPr>
            </a:lvl1pPr>
            <a:lvl2pPr marL="685800" indent="-228600">
              <a:lnSpc>
                <a:spcPts val="18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400" b="0">
                <a:solidFill>
                  <a:schemeClr val="accent1"/>
                </a:solidFill>
                <a:latin typeface="+mn-lt"/>
              </a:defRPr>
            </a:lvl2pPr>
            <a:lvl3pPr marL="1143000" indent="-228600">
              <a:lnSpc>
                <a:spcPts val="1800"/>
              </a:lnSpc>
              <a:buClr>
                <a:schemeClr val="accent3"/>
              </a:buClr>
              <a:buSzPct val="115000"/>
              <a:buFont typeface="Microsoft Sans Serif" panose="020B0604020202020204" pitchFamily="34" charset="0"/>
              <a:buChar char="▪"/>
              <a:defRPr sz="1200">
                <a:solidFill>
                  <a:schemeClr val="accent1"/>
                </a:solidFill>
              </a:defRPr>
            </a:lvl3pPr>
            <a:lvl4pPr marL="1600200" indent="-228600">
              <a:lnSpc>
                <a:spcPts val="1800"/>
              </a:lnSpc>
              <a:buClr>
                <a:schemeClr val="accent4"/>
              </a:buClr>
              <a:buSzPct val="115000"/>
              <a:buFont typeface="Calibri Light" panose="020F0302020204030204" pitchFamily="34" charset="0"/>
              <a:buChar char="»"/>
              <a:defRPr sz="1200" b="0">
                <a:solidFill>
                  <a:schemeClr val="accent1"/>
                </a:solidFill>
              </a:defRPr>
            </a:lvl4pPr>
            <a:lvl5pPr marL="2057400" indent="-228600">
              <a:lnSpc>
                <a:spcPts val="1800"/>
              </a:lnSpc>
              <a:buClr>
                <a:schemeClr val="accent3"/>
              </a:buClr>
              <a:buSzPct val="115000"/>
              <a:buFont typeface="Microsoft Sans Serif" panose="020B0604020202020204" pitchFamily="34" charset="0"/>
              <a:buChar char="▪"/>
              <a:defRPr sz="1200">
                <a:solidFill>
                  <a:schemeClr val="accent1"/>
                </a:solidFill>
              </a:defRPr>
            </a:lvl5pPr>
            <a:lvl6pPr>
              <a:defRPr/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4FADB29-A9B0-4A96-A5C7-153A2C907EB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86500" y="1267607"/>
            <a:ext cx="5524500" cy="622754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lIns="0" tIns="0" rIns="0" bIns="0" anchor="ctr"/>
          <a:lstStyle>
            <a:lvl1pPr marL="0" indent="0" algn="ctr">
              <a:lnSpc>
                <a:spcPts val="1300"/>
              </a:lnSpc>
              <a:spcBef>
                <a:spcPts val="0"/>
              </a:spcBef>
              <a:buNone/>
              <a:defRPr sz="1800" b="1" cap="none" spc="300" baseline="0">
                <a:solidFill>
                  <a:schemeClr val="bg1"/>
                </a:solidFill>
                <a:latin typeface="+mn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24D6323-EE39-49E0-8685-8BD88672F51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86500" y="1890359"/>
            <a:ext cx="5524500" cy="405324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lIns="91440" tIns="91440" bIns="91440"/>
          <a:lstStyle>
            <a:lvl1pPr marL="228600" indent="-228600">
              <a:lnSpc>
                <a:spcPts val="1800"/>
              </a:lnSpc>
              <a:buClr>
                <a:schemeClr val="accent3"/>
              </a:buClr>
              <a:buSzPct val="100000"/>
              <a:buFont typeface="Microsoft Sans Serif" panose="020B0604020202020204" pitchFamily="34" charset="0"/>
              <a:buChar char="▪"/>
              <a:defRPr sz="1400">
                <a:solidFill>
                  <a:schemeClr val="accent1"/>
                </a:solidFill>
                <a:latin typeface="+mn-lt"/>
              </a:defRPr>
            </a:lvl1pPr>
            <a:lvl2pPr marL="685800" indent="-228600">
              <a:lnSpc>
                <a:spcPts val="18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400" b="0">
                <a:solidFill>
                  <a:schemeClr val="accent1"/>
                </a:solidFill>
                <a:latin typeface="+mn-lt"/>
              </a:defRPr>
            </a:lvl2pPr>
            <a:lvl3pPr marL="1143000" indent="-228600">
              <a:lnSpc>
                <a:spcPts val="1800"/>
              </a:lnSpc>
              <a:buClr>
                <a:schemeClr val="accent3"/>
              </a:buClr>
              <a:buSzPct val="115000"/>
              <a:buFont typeface="Microsoft Sans Serif" panose="020B0604020202020204" pitchFamily="34" charset="0"/>
              <a:buChar char="▪"/>
              <a:defRPr sz="1200">
                <a:solidFill>
                  <a:schemeClr val="accent1"/>
                </a:solidFill>
              </a:defRPr>
            </a:lvl3pPr>
            <a:lvl4pPr marL="1600200" indent="-228600">
              <a:lnSpc>
                <a:spcPts val="1800"/>
              </a:lnSpc>
              <a:buClr>
                <a:schemeClr val="accent4"/>
              </a:buClr>
              <a:buSzPct val="115000"/>
              <a:buFont typeface="Calibri Light" panose="020F0302020204030204" pitchFamily="34" charset="0"/>
              <a:buChar char="»"/>
              <a:defRPr sz="1200" b="0">
                <a:solidFill>
                  <a:schemeClr val="accent1"/>
                </a:solidFill>
              </a:defRPr>
            </a:lvl4pPr>
            <a:lvl5pPr marL="2057400" indent="-228600">
              <a:lnSpc>
                <a:spcPts val="1800"/>
              </a:lnSpc>
              <a:buClr>
                <a:schemeClr val="accent3"/>
              </a:buClr>
              <a:buSzPct val="115000"/>
              <a:buFont typeface="Microsoft Sans Serif" panose="020B0604020202020204" pitchFamily="34" charset="0"/>
              <a:buChar char="▪"/>
              <a:defRPr sz="1200">
                <a:solidFill>
                  <a:schemeClr val="accent1"/>
                </a:solidFill>
              </a:defRPr>
            </a:lvl5pPr>
            <a:lvl6pPr>
              <a:defRPr/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38854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3374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A6B114E-25F2-4C22-B372-02D6AAE09F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02616"/>
            <a:ext cx="11430000" cy="34663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1" cap="all" spc="54" baseline="0">
                <a:solidFill>
                  <a:schemeClr val="accent1"/>
                </a:solidFill>
                <a:latin typeface="+mj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C85A94B-3EFA-4254-95A3-9F4A514CAD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913325"/>
            <a:ext cx="11430000" cy="11615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300"/>
              </a:lnSpc>
              <a:spcBef>
                <a:spcPts val="0"/>
              </a:spcBef>
              <a:buNone/>
              <a:defRPr sz="1600" b="0" cap="none" spc="0" baseline="0">
                <a:solidFill>
                  <a:schemeClr val="accent6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159515D-B766-4947-B320-9C27DFEC07FB}"/>
              </a:ext>
            </a:extLst>
          </p:cNvPr>
          <p:cNvCxnSpPr>
            <a:cxnSpLocks/>
          </p:cNvCxnSpPr>
          <p:nvPr userDrawn="1"/>
        </p:nvCxnSpPr>
        <p:spPr>
          <a:xfrm>
            <a:off x="381000" y="457200"/>
            <a:ext cx="72934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CE782F9-7A0F-4511-9A3B-483C6ED996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1267607"/>
            <a:ext cx="5524500" cy="62275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lIns="0" tIns="0" rIns="0" bIns="0" anchor="ctr"/>
          <a:lstStyle>
            <a:lvl1pPr marL="0" indent="0" algn="ctr">
              <a:lnSpc>
                <a:spcPts val="1300"/>
              </a:lnSpc>
              <a:spcBef>
                <a:spcPts val="0"/>
              </a:spcBef>
              <a:buNone/>
              <a:defRPr sz="1800" b="1" cap="none" spc="300" baseline="0">
                <a:solidFill>
                  <a:schemeClr val="bg1"/>
                </a:solidFill>
                <a:latin typeface="+mn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4FADB29-A9B0-4A96-A5C7-153A2C907EB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86500" y="1267607"/>
            <a:ext cx="5524500" cy="622754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lIns="0" tIns="0" rIns="0" bIns="0" anchor="ctr"/>
          <a:lstStyle>
            <a:lvl1pPr marL="0" indent="0" algn="ctr">
              <a:lnSpc>
                <a:spcPts val="1300"/>
              </a:lnSpc>
              <a:spcBef>
                <a:spcPts val="0"/>
              </a:spcBef>
              <a:buNone/>
              <a:defRPr sz="1800" b="1" cap="none" spc="300" baseline="0">
                <a:solidFill>
                  <a:schemeClr val="bg1"/>
                </a:solidFill>
                <a:latin typeface="+mn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1FB0BDF7-3858-4F65-9CF3-F025D1E7AA3F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381000" y="1890360"/>
            <a:ext cx="5524500" cy="4053239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/>
          <a:lstStyle>
            <a:lvl1pPr>
              <a:buClr>
                <a:schemeClr val="accent3"/>
              </a:buClr>
              <a:buSzPct val="100000"/>
              <a:defRPr sz="1400"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13" name="Chart Placeholder 2">
            <a:extLst>
              <a:ext uri="{FF2B5EF4-FFF2-40B4-BE49-F238E27FC236}">
                <a16:creationId xmlns:a16="http://schemas.microsoft.com/office/drawing/2014/main" id="{E609E1D3-ED16-4903-A9E9-8CBD3DEDF753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286500" y="1890360"/>
            <a:ext cx="5524500" cy="4053239"/>
          </a:xfrm>
          <a:prstGeom prst="rect">
            <a:avLst/>
          </a:prstGeom>
          <a:ln w="9525">
            <a:solidFill>
              <a:schemeClr val="accent1"/>
            </a:solidFill>
          </a:ln>
        </p:spPr>
        <p:txBody>
          <a:bodyPr/>
          <a:lstStyle>
            <a:lvl1pPr>
              <a:buClr>
                <a:schemeClr val="accent3"/>
              </a:buClr>
              <a:buSzPct val="100000"/>
              <a:defRPr sz="14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4667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5461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A6B114E-25F2-4C22-B372-02D6AAE09F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02616"/>
            <a:ext cx="11430000" cy="34663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1" cap="all" spc="54" baseline="0">
                <a:solidFill>
                  <a:schemeClr val="accent1"/>
                </a:solidFill>
                <a:latin typeface="+mj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C85A94B-3EFA-4254-95A3-9F4A514CAD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913325"/>
            <a:ext cx="11430000" cy="11615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300"/>
              </a:lnSpc>
              <a:spcBef>
                <a:spcPts val="0"/>
              </a:spcBef>
              <a:buNone/>
              <a:defRPr sz="1600" b="0" cap="none" spc="0" baseline="0">
                <a:solidFill>
                  <a:schemeClr val="accent6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159515D-B766-4947-B320-9C27DFEC07FB}"/>
              </a:ext>
            </a:extLst>
          </p:cNvPr>
          <p:cNvCxnSpPr>
            <a:cxnSpLocks/>
          </p:cNvCxnSpPr>
          <p:nvPr userDrawn="1"/>
        </p:nvCxnSpPr>
        <p:spPr>
          <a:xfrm>
            <a:off x="381000" y="457200"/>
            <a:ext cx="72934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65F1EBD-57F6-45AC-A8B2-B2E6D204FD2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257175" y="1200932"/>
            <a:ext cx="8373480" cy="4742668"/>
          </a:xfrm>
          <a:prstGeom prst="rect">
            <a:avLst/>
          </a:prstGeom>
          <a:noFill/>
        </p:spPr>
        <p:txBody>
          <a:bodyPr lIns="0" tIns="0" rIns="0" bIns="0"/>
          <a:lstStyle>
            <a:lvl1pPr marL="342900" indent="-227013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 sz="1400">
                <a:solidFill>
                  <a:schemeClr val="accent1"/>
                </a:solidFill>
                <a:latin typeface="+mj-lt"/>
              </a:defRPr>
            </a:lvl1pPr>
            <a:lvl2pPr marL="742950" indent="-28575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400">
                <a:solidFill>
                  <a:schemeClr val="accent5"/>
                </a:solidFill>
                <a:latin typeface="+mj-lt"/>
              </a:defRPr>
            </a:lvl2pPr>
            <a:lvl3pPr marL="1143000" indent="-2286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5000"/>
              <a:buFont typeface="Wingdings" panose="05000000000000000000" pitchFamily="2" charset="2"/>
              <a:buChar char="§"/>
              <a:defRPr sz="1200" b="0">
                <a:solidFill>
                  <a:schemeClr val="accent1"/>
                </a:solidFill>
                <a:latin typeface="Calibri Light" panose="020F0302020204030204" pitchFamily="34" charset="0"/>
              </a:defRPr>
            </a:lvl3pPr>
            <a:lvl4pPr marL="1600200" indent="-22860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5000"/>
              <a:buFont typeface="Calibri Light" panose="020F0302020204030204" pitchFamily="34" charset="0"/>
              <a:buChar char="»"/>
              <a:defRPr>
                <a:solidFill>
                  <a:schemeClr val="accent1"/>
                </a:solidFill>
              </a:defRPr>
            </a:lvl4pPr>
            <a:lvl5pPr marL="2057400" indent="-2286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5000"/>
              <a:buFont typeface="Wingdings" panose="05000000000000000000" pitchFamily="2" charset="2"/>
              <a:buChar char="§"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reeform 245">
            <a:extLst>
              <a:ext uri="{FF2B5EF4-FFF2-40B4-BE49-F238E27FC236}">
                <a16:creationId xmlns:a16="http://schemas.microsoft.com/office/drawing/2014/main" id="{75D99866-5B5F-4A60-9EB1-C260DD038CD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008480" y="1200933"/>
            <a:ext cx="205649" cy="174014"/>
          </a:xfrm>
          <a:custGeom>
            <a:avLst/>
            <a:gdLst>
              <a:gd name="T0" fmla="*/ 72 w 157"/>
              <a:gd name="T1" fmla="*/ 79 h 133"/>
              <a:gd name="T2" fmla="*/ 72 w 157"/>
              <a:gd name="T3" fmla="*/ 115 h 133"/>
              <a:gd name="T4" fmla="*/ 67 w 157"/>
              <a:gd name="T5" fmla="*/ 128 h 133"/>
              <a:gd name="T6" fmla="*/ 54 w 157"/>
              <a:gd name="T7" fmla="*/ 133 h 133"/>
              <a:gd name="T8" fmla="*/ 18 w 157"/>
              <a:gd name="T9" fmla="*/ 133 h 133"/>
              <a:gd name="T10" fmla="*/ 5 w 157"/>
              <a:gd name="T11" fmla="*/ 128 h 133"/>
              <a:gd name="T12" fmla="*/ 0 w 157"/>
              <a:gd name="T13" fmla="*/ 115 h 133"/>
              <a:gd name="T14" fmla="*/ 0 w 157"/>
              <a:gd name="T15" fmla="*/ 49 h 133"/>
              <a:gd name="T16" fmla="*/ 3 w 157"/>
              <a:gd name="T17" fmla="*/ 30 h 133"/>
              <a:gd name="T18" fmla="*/ 14 w 157"/>
              <a:gd name="T19" fmla="*/ 14 h 133"/>
              <a:gd name="T20" fmla="*/ 29 w 157"/>
              <a:gd name="T21" fmla="*/ 4 h 133"/>
              <a:gd name="T22" fmla="*/ 48 w 157"/>
              <a:gd name="T23" fmla="*/ 0 h 133"/>
              <a:gd name="T24" fmla="*/ 54 w 157"/>
              <a:gd name="T25" fmla="*/ 0 h 133"/>
              <a:gd name="T26" fmla="*/ 58 w 157"/>
              <a:gd name="T27" fmla="*/ 2 h 133"/>
              <a:gd name="T28" fmla="*/ 60 w 157"/>
              <a:gd name="T29" fmla="*/ 6 h 133"/>
              <a:gd name="T30" fmla="*/ 60 w 157"/>
              <a:gd name="T31" fmla="*/ 18 h 133"/>
              <a:gd name="T32" fmla="*/ 58 w 157"/>
              <a:gd name="T33" fmla="*/ 23 h 133"/>
              <a:gd name="T34" fmla="*/ 54 w 157"/>
              <a:gd name="T35" fmla="*/ 25 h 133"/>
              <a:gd name="T36" fmla="*/ 48 w 157"/>
              <a:gd name="T37" fmla="*/ 25 h 133"/>
              <a:gd name="T38" fmla="*/ 31 w 157"/>
              <a:gd name="T39" fmla="*/ 32 h 133"/>
              <a:gd name="T40" fmla="*/ 24 w 157"/>
              <a:gd name="T41" fmla="*/ 49 h 133"/>
              <a:gd name="T42" fmla="*/ 24 w 157"/>
              <a:gd name="T43" fmla="*/ 52 h 133"/>
              <a:gd name="T44" fmla="*/ 26 w 157"/>
              <a:gd name="T45" fmla="*/ 58 h 133"/>
              <a:gd name="T46" fmla="*/ 33 w 157"/>
              <a:gd name="T47" fmla="*/ 61 h 133"/>
              <a:gd name="T48" fmla="*/ 54 w 157"/>
              <a:gd name="T49" fmla="*/ 61 h 133"/>
              <a:gd name="T50" fmla="*/ 67 w 157"/>
              <a:gd name="T51" fmla="*/ 66 h 133"/>
              <a:gd name="T52" fmla="*/ 72 w 157"/>
              <a:gd name="T53" fmla="*/ 79 h 133"/>
              <a:gd name="T54" fmla="*/ 157 w 157"/>
              <a:gd name="T55" fmla="*/ 79 h 133"/>
              <a:gd name="T56" fmla="*/ 157 w 157"/>
              <a:gd name="T57" fmla="*/ 115 h 133"/>
              <a:gd name="T58" fmla="*/ 152 w 157"/>
              <a:gd name="T59" fmla="*/ 128 h 133"/>
              <a:gd name="T60" fmla="*/ 139 w 157"/>
              <a:gd name="T61" fmla="*/ 133 h 133"/>
              <a:gd name="T62" fmla="*/ 102 w 157"/>
              <a:gd name="T63" fmla="*/ 133 h 133"/>
              <a:gd name="T64" fmla="*/ 90 w 157"/>
              <a:gd name="T65" fmla="*/ 128 h 133"/>
              <a:gd name="T66" fmla="*/ 84 w 157"/>
              <a:gd name="T67" fmla="*/ 115 h 133"/>
              <a:gd name="T68" fmla="*/ 84 w 157"/>
              <a:gd name="T69" fmla="*/ 49 h 133"/>
              <a:gd name="T70" fmla="*/ 88 w 157"/>
              <a:gd name="T71" fmla="*/ 30 h 133"/>
              <a:gd name="T72" fmla="*/ 99 w 157"/>
              <a:gd name="T73" fmla="*/ 14 h 133"/>
              <a:gd name="T74" fmla="*/ 114 w 157"/>
              <a:gd name="T75" fmla="*/ 4 h 133"/>
              <a:gd name="T76" fmla="*/ 133 w 157"/>
              <a:gd name="T77" fmla="*/ 0 h 133"/>
              <a:gd name="T78" fmla="*/ 139 w 157"/>
              <a:gd name="T79" fmla="*/ 0 h 133"/>
              <a:gd name="T80" fmla="*/ 143 w 157"/>
              <a:gd name="T81" fmla="*/ 2 h 133"/>
              <a:gd name="T82" fmla="*/ 145 w 157"/>
              <a:gd name="T83" fmla="*/ 6 h 133"/>
              <a:gd name="T84" fmla="*/ 145 w 157"/>
              <a:gd name="T85" fmla="*/ 18 h 133"/>
              <a:gd name="T86" fmla="*/ 143 w 157"/>
              <a:gd name="T87" fmla="*/ 23 h 133"/>
              <a:gd name="T88" fmla="*/ 139 w 157"/>
              <a:gd name="T89" fmla="*/ 25 h 133"/>
              <a:gd name="T90" fmla="*/ 133 w 157"/>
              <a:gd name="T91" fmla="*/ 25 h 133"/>
              <a:gd name="T92" fmla="*/ 116 w 157"/>
              <a:gd name="T93" fmla="*/ 32 h 133"/>
              <a:gd name="T94" fmla="*/ 109 w 157"/>
              <a:gd name="T95" fmla="*/ 49 h 133"/>
              <a:gd name="T96" fmla="*/ 109 w 157"/>
              <a:gd name="T97" fmla="*/ 52 h 133"/>
              <a:gd name="T98" fmla="*/ 111 w 157"/>
              <a:gd name="T99" fmla="*/ 58 h 133"/>
              <a:gd name="T100" fmla="*/ 118 w 157"/>
              <a:gd name="T101" fmla="*/ 61 h 133"/>
              <a:gd name="T102" fmla="*/ 139 w 157"/>
              <a:gd name="T103" fmla="*/ 61 h 133"/>
              <a:gd name="T104" fmla="*/ 152 w 157"/>
              <a:gd name="T105" fmla="*/ 66 h 133"/>
              <a:gd name="T106" fmla="*/ 157 w 157"/>
              <a:gd name="T107" fmla="*/ 7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7" h="133">
                <a:moveTo>
                  <a:pt x="72" y="79"/>
                </a:moveTo>
                <a:cubicBezTo>
                  <a:pt x="72" y="115"/>
                  <a:pt x="72" y="115"/>
                  <a:pt x="72" y="115"/>
                </a:cubicBezTo>
                <a:cubicBezTo>
                  <a:pt x="72" y="120"/>
                  <a:pt x="70" y="125"/>
                  <a:pt x="67" y="128"/>
                </a:cubicBezTo>
                <a:cubicBezTo>
                  <a:pt x="63" y="132"/>
                  <a:pt x="59" y="133"/>
                  <a:pt x="54" y="133"/>
                </a:cubicBezTo>
                <a:cubicBezTo>
                  <a:pt x="18" y="133"/>
                  <a:pt x="18" y="133"/>
                  <a:pt x="18" y="133"/>
                </a:cubicBezTo>
                <a:cubicBezTo>
                  <a:pt x="13" y="133"/>
                  <a:pt x="8" y="132"/>
                  <a:pt x="5" y="128"/>
                </a:cubicBezTo>
                <a:cubicBezTo>
                  <a:pt x="1" y="125"/>
                  <a:pt x="0" y="120"/>
                  <a:pt x="0" y="115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42"/>
                  <a:pt x="1" y="36"/>
                  <a:pt x="3" y="30"/>
                </a:cubicBezTo>
                <a:cubicBezTo>
                  <a:pt x="6" y="24"/>
                  <a:pt x="9" y="19"/>
                  <a:pt x="14" y="14"/>
                </a:cubicBezTo>
                <a:cubicBezTo>
                  <a:pt x="18" y="10"/>
                  <a:pt x="23" y="7"/>
                  <a:pt x="29" y="4"/>
                </a:cubicBezTo>
                <a:cubicBezTo>
                  <a:pt x="35" y="2"/>
                  <a:pt x="41" y="0"/>
                  <a:pt x="48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56" y="0"/>
                  <a:pt x="57" y="1"/>
                  <a:pt x="58" y="2"/>
                </a:cubicBezTo>
                <a:cubicBezTo>
                  <a:pt x="60" y="3"/>
                  <a:pt x="60" y="5"/>
                  <a:pt x="60" y="6"/>
                </a:cubicBezTo>
                <a:cubicBezTo>
                  <a:pt x="60" y="18"/>
                  <a:pt x="60" y="18"/>
                  <a:pt x="60" y="18"/>
                </a:cubicBezTo>
                <a:cubicBezTo>
                  <a:pt x="60" y="20"/>
                  <a:pt x="60" y="22"/>
                  <a:pt x="58" y="23"/>
                </a:cubicBezTo>
                <a:cubicBezTo>
                  <a:pt x="57" y="24"/>
                  <a:pt x="56" y="25"/>
                  <a:pt x="54" y="25"/>
                </a:cubicBezTo>
                <a:cubicBezTo>
                  <a:pt x="48" y="25"/>
                  <a:pt x="48" y="25"/>
                  <a:pt x="48" y="25"/>
                </a:cubicBezTo>
                <a:cubicBezTo>
                  <a:pt x="41" y="25"/>
                  <a:pt x="36" y="27"/>
                  <a:pt x="31" y="32"/>
                </a:cubicBezTo>
                <a:cubicBezTo>
                  <a:pt x="26" y="36"/>
                  <a:pt x="24" y="42"/>
                  <a:pt x="24" y="49"/>
                </a:cubicBezTo>
                <a:cubicBezTo>
                  <a:pt x="24" y="52"/>
                  <a:pt x="24" y="52"/>
                  <a:pt x="24" y="52"/>
                </a:cubicBezTo>
                <a:cubicBezTo>
                  <a:pt x="24" y="54"/>
                  <a:pt x="25" y="56"/>
                  <a:pt x="26" y="58"/>
                </a:cubicBezTo>
                <a:cubicBezTo>
                  <a:pt x="28" y="60"/>
                  <a:pt x="30" y="61"/>
                  <a:pt x="33" y="61"/>
                </a:cubicBezTo>
                <a:cubicBezTo>
                  <a:pt x="54" y="61"/>
                  <a:pt x="54" y="61"/>
                  <a:pt x="54" y="61"/>
                </a:cubicBezTo>
                <a:cubicBezTo>
                  <a:pt x="59" y="61"/>
                  <a:pt x="63" y="63"/>
                  <a:pt x="67" y="66"/>
                </a:cubicBezTo>
                <a:cubicBezTo>
                  <a:pt x="70" y="70"/>
                  <a:pt x="72" y="74"/>
                  <a:pt x="72" y="79"/>
                </a:cubicBezTo>
                <a:close/>
                <a:moveTo>
                  <a:pt x="157" y="79"/>
                </a:moveTo>
                <a:cubicBezTo>
                  <a:pt x="157" y="115"/>
                  <a:pt x="157" y="115"/>
                  <a:pt x="157" y="115"/>
                </a:cubicBezTo>
                <a:cubicBezTo>
                  <a:pt x="157" y="120"/>
                  <a:pt x="155" y="125"/>
                  <a:pt x="152" y="128"/>
                </a:cubicBezTo>
                <a:cubicBezTo>
                  <a:pt x="148" y="132"/>
                  <a:pt x="144" y="133"/>
                  <a:pt x="139" y="133"/>
                </a:cubicBezTo>
                <a:cubicBezTo>
                  <a:pt x="102" y="133"/>
                  <a:pt x="102" y="133"/>
                  <a:pt x="102" y="133"/>
                </a:cubicBezTo>
                <a:cubicBezTo>
                  <a:pt x="97" y="133"/>
                  <a:pt x="93" y="132"/>
                  <a:pt x="90" y="128"/>
                </a:cubicBezTo>
                <a:cubicBezTo>
                  <a:pt x="86" y="125"/>
                  <a:pt x="84" y="120"/>
                  <a:pt x="84" y="115"/>
                </a:cubicBezTo>
                <a:cubicBezTo>
                  <a:pt x="84" y="49"/>
                  <a:pt x="84" y="49"/>
                  <a:pt x="84" y="49"/>
                </a:cubicBezTo>
                <a:cubicBezTo>
                  <a:pt x="84" y="42"/>
                  <a:pt x="86" y="36"/>
                  <a:pt x="88" y="30"/>
                </a:cubicBezTo>
                <a:cubicBezTo>
                  <a:pt x="91" y="24"/>
                  <a:pt x="94" y="19"/>
                  <a:pt x="99" y="14"/>
                </a:cubicBezTo>
                <a:cubicBezTo>
                  <a:pt x="103" y="10"/>
                  <a:pt x="108" y="7"/>
                  <a:pt x="114" y="4"/>
                </a:cubicBezTo>
                <a:cubicBezTo>
                  <a:pt x="120" y="2"/>
                  <a:pt x="126" y="0"/>
                  <a:pt x="133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0" y="0"/>
                  <a:pt x="142" y="1"/>
                  <a:pt x="143" y="2"/>
                </a:cubicBezTo>
                <a:cubicBezTo>
                  <a:pt x="144" y="3"/>
                  <a:pt x="145" y="5"/>
                  <a:pt x="145" y="6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145" y="20"/>
                  <a:pt x="144" y="22"/>
                  <a:pt x="143" y="23"/>
                </a:cubicBezTo>
                <a:cubicBezTo>
                  <a:pt x="142" y="24"/>
                  <a:pt x="140" y="25"/>
                  <a:pt x="139" y="25"/>
                </a:cubicBezTo>
                <a:cubicBezTo>
                  <a:pt x="133" y="25"/>
                  <a:pt x="133" y="25"/>
                  <a:pt x="133" y="25"/>
                </a:cubicBezTo>
                <a:cubicBezTo>
                  <a:pt x="126" y="25"/>
                  <a:pt x="120" y="27"/>
                  <a:pt x="116" y="32"/>
                </a:cubicBezTo>
                <a:cubicBezTo>
                  <a:pt x="111" y="36"/>
                  <a:pt x="109" y="42"/>
                  <a:pt x="109" y="49"/>
                </a:cubicBezTo>
                <a:cubicBezTo>
                  <a:pt x="109" y="52"/>
                  <a:pt x="109" y="52"/>
                  <a:pt x="109" y="52"/>
                </a:cubicBezTo>
                <a:cubicBezTo>
                  <a:pt x="109" y="54"/>
                  <a:pt x="109" y="56"/>
                  <a:pt x="111" y="58"/>
                </a:cubicBezTo>
                <a:cubicBezTo>
                  <a:pt x="113" y="60"/>
                  <a:pt x="115" y="61"/>
                  <a:pt x="118" y="61"/>
                </a:cubicBezTo>
                <a:cubicBezTo>
                  <a:pt x="139" y="61"/>
                  <a:pt x="139" y="61"/>
                  <a:pt x="139" y="61"/>
                </a:cubicBezTo>
                <a:cubicBezTo>
                  <a:pt x="144" y="61"/>
                  <a:pt x="148" y="63"/>
                  <a:pt x="152" y="66"/>
                </a:cubicBezTo>
                <a:cubicBezTo>
                  <a:pt x="155" y="70"/>
                  <a:pt x="157" y="74"/>
                  <a:pt x="157" y="7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 dirty="0">
              <a:latin typeface="Microsoft Sans Serif" charset="0"/>
              <a:ea typeface="Microsoft Sans Serif" charset="0"/>
              <a:cs typeface="Microsoft Sans Serif" charset="0"/>
            </a:endParaRPr>
          </a:p>
        </p:txBody>
      </p:sp>
      <p:sp>
        <p:nvSpPr>
          <p:cNvPr id="9" name="Freeform 245">
            <a:extLst>
              <a:ext uri="{FF2B5EF4-FFF2-40B4-BE49-F238E27FC236}">
                <a16:creationId xmlns:a16="http://schemas.microsoft.com/office/drawing/2014/main" id="{1FE421EA-B327-47CE-A9C0-2F8170DB0B8B}"/>
              </a:ext>
            </a:extLst>
          </p:cNvPr>
          <p:cNvSpPr>
            <a:spLocks noEditPoints="1"/>
          </p:cNvSpPr>
          <p:nvPr userDrawn="1"/>
        </p:nvSpPr>
        <p:spPr bwMode="auto">
          <a:xfrm flipH="1">
            <a:off x="11605351" y="5769586"/>
            <a:ext cx="205649" cy="174014"/>
          </a:xfrm>
          <a:custGeom>
            <a:avLst/>
            <a:gdLst>
              <a:gd name="T0" fmla="*/ 72 w 157"/>
              <a:gd name="T1" fmla="*/ 79 h 133"/>
              <a:gd name="T2" fmla="*/ 72 w 157"/>
              <a:gd name="T3" fmla="*/ 115 h 133"/>
              <a:gd name="T4" fmla="*/ 67 w 157"/>
              <a:gd name="T5" fmla="*/ 128 h 133"/>
              <a:gd name="T6" fmla="*/ 54 w 157"/>
              <a:gd name="T7" fmla="*/ 133 h 133"/>
              <a:gd name="T8" fmla="*/ 18 w 157"/>
              <a:gd name="T9" fmla="*/ 133 h 133"/>
              <a:gd name="T10" fmla="*/ 5 w 157"/>
              <a:gd name="T11" fmla="*/ 128 h 133"/>
              <a:gd name="T12" fmla="*/ 0 w 157"/>
              <a:gd name="T13" fmla="*/ 115 h 133"/>
              <a:gd name="T14" fmla="*/ 0 w 157"/>
              <a:gd name="T15" fmla="*/ 49 h 133"/>
              <a:gd name="T16" fmla="*/ 3 w 157"/>
              <a:gd name="T17" fmla="*/ 30 h 133"/>
              <a:gd name="T18" fmla="*/ 14 w 157"/>
              <a:gd name="T19" fmla="*/ 14 h 133"/>
              <a:gd name="T20" fmla="*/ 29 w 157"/>
              <a:gd name="T21" fmla="*/ 4 h 133"/>
              <a:gd name="T22" fmla="*/ 48 w 157"/>
              <a:gd name="T23" fmla="*/ 0 h 133"/>
              <a:gd name="T24" fmla="*/ 54 w 157"/>
              <a:gd name="T25" fmla="*/ 0 h 133"/>
              <a:gd name="T26" fmla="*/ 58 w 157"/>
              <a:gd name="T27" fmla="*/ 2 h 133"/>
              <a:gd name="T28" fmla="*/ 60 w 157"/>
              <a:gd name="T29" fmla="*/ 6 h 133"/>
              <a:gd name="T30" fmla="*/ 60 w 157"/>
              <a:gd name="T31" fmla="*/ 18 h 133"/>
              <a:gd name="T32" fmla="*/ 58 w 157"/>
              <a:gd name="T33" fmla="*/ 23 h 133"/>
              <a:gd name="T34" fmla="*/ 54 w 157"/>
              <a:gd name="T35" fmla="*/ 25 h 133"/>
              <a:gd name="T36" fmla="*/ 48 w 157"/>
              <a:gd name="T37" fmla="*/ 25 h 133"/>
              <a:gd name="T38" fmla="*/ 31 w 157"/>
              <a:gd name="T39" fmla="*/ 32 h 133"/>
              <a:gd name="T40" fmla="*/ 24 w 157"/>
              <a:gd name="T41" fmla="*/ 49 h 133"/>
              <a:gd name="T42" fmla="*/ 24 w 157"/>
              <a:gd name="T43" fmla="*/ 52 h 133"/>
              <a:gd name="T44" fmla="*/ 26 w 157"/>
              <a:gd name="T45" fmla="*/ 58 h 133"/>
              <a:gd name="T46" fmla="*/ 33 w 157"/>
              <a:gd name="T47" fmla="*/ 61 h 133"/>
              <a:gd name="T48" fmla="*/ 54 w 157"/>
              <a:gd name="T49" fmla="*/ 61 h 133"/>
              <a:gd name="T50" fmla="*/ 67 w 157"/>
              <a:gd name="T51" fmla="*/ 66 h 133"/>
              <a:gd name="T52" fmla="*/ 72 w 157"/>
              <a:gd name="T53" fmla="*/ 79 h 133"/>
              <a:gd name="T54" fmla="*/ 157 w 157"/>
              <a:gd name="T55" fmla="*/ 79 h 133"/>
              <a:gd name="T56" fmla="*/ 157 w 157"/>
              <a:gd name="T57" fmla="*/ 115 h 133"/>
              <a:gd name="T58" fmla="*/ 152 w 157"/>
              <a:gd name="T59" fmla="*/ 128 h 133"/>
              <a:gd name="T60" fmla="*/ 139 w 157"/>
              <a:gd name="T61" fmla="*/ 133 h 133"/>
              <a:gd name="T62" fmla="*/ 102 w 157"/>
              <a:gd name="T63" fmla="*/ 133 h 133"/>
              <a:gd name="T64" fmla="*/ 90 w 157"/>
              <a:gd name="T65" fmla="*/ 128 h 133"/>
              <a:gd name="T66" fmla="*/ 84 w 157"/>
              <a:gd name="T67" fmla="*/ 115 h 133"/>
              <a:gd name="T68" fmla="*/ 84 w 157"/>
              <a:gd name="T69" fmla="*/ 49 h 133"/>
              <a:gd name="T70" fmla="*/ 88 w 157"/>
              <a:gd name="T71" fmla="*/ 30 h 133"/>
              <a:gd name="T72" fmla="*/ 99 w 157"/>
              <a:gd name="T73" fmla="*/ 14 h 133"/>
              <a:gd name="T74" fmla="*/ 114 w 157"/>
              <a:gd name="T75" fmla="*/ 4 h 133"/>
              <a:gd name="T76" fmla="*/ 133 w 157"/>
              <a:gd name="T77" fmla="*/ 0 h 133"/>
              <a:gd name="T78" fmla="*/ 139 w 157"/>
              <a:gd name="T79" fmla="*/ 0 h 133"/>
              <a:gd name="T80" fmla="*/ 143 w 157"/>
              <a:gd name="T81" fmla="*/ 2 h 133"/>
              <a:gd name="T82" fmla="*/ 145 w 157"/>
              <a:gd name="T83" fmla="*/ 6 h 133"/>
              <a:gd name="T84" fmla="*/ 145 w 157"/>
              <a:gd name="T85" fmla="*/ 18 h 133"/>
              <a:gd name="T86" fmla="*/ 143 w 157"/>
              <a:gd name="T87" fmla="*/ 23 h 133"/>
              <a:gd name="T88" fmla="*/ 139 w 157"/>
              <a:gd name="T89" fmla="*/ 25 h 133"/>
              <a:gd name="T90" fmla="*/ 133 w 157"/>
              <a:gd name="T91" fmla="*/ 25 h 133"/>
              <a:gd name="T92" fmla="*/ 116 w 157"/>
              <a:gd name="T93" fmla="*/ 32 h 133"/>
              <a:gd name="T94" fmla="*/ 109 w 157"/>
              <a:gd name="T95" fmla="*/ 49 h 133"/>
              <a:gd name="T96" fmla="*/ 109 w 157"/>
              <a:gd name="T97" fmla="*/ 52 h 133"/>
              <a:gd name="T98" fmla="*/ 111 w 157"/>
              <a:gd name="T99" fmla="*/ 58 h 133"/>
              <a:gd name="T100" fmla="*/ 118 w 157"/>
              <a:gd name="T101" fmla="*/ 61 h 133"/>
              <a:gd name="T102" fmla="*/ 139 w 157"/>
              <a:gd name="T103" fmla="*/ 61 h 133"/>
              <a:gd name="T104" fmla="*/ 152 w 157"/>
              <a:gd name="T105" fmla="*/ 66 h 133"/>
              <a:gd name="T106" fmla="*/ 157 w 157"/>
              <a:gd name="T107" fmla="*/ 7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7" h="133">
                <a:moveTo>
                  <a:pt x="72" y="79"/>
                </a:moveTo>
                <a:cubicBezTo>
                  <a:pt x="72" y="115"/>
                  <a:pt x="72" y="115"/>
                  <a:pt x="72" y="115"/>
                </a:cubicBezTo>
                <a:cubicBezTo>
                  <a:pt x="72" y="120"/>
                  <a:pt x="70" y="125"/>
                  <a:pt x="67" y="128"/>
                </a:cubicBezTo>
                <a:cubicBezTo>
                  <a:pt x="63" y="132"/>
                  <a:pt x="59" y="133"/>
                  <a:pt x="54" y="133"/>
                </a:cubicBezTo>
                <a:cubicBezTo>
                  <a:pt x="18" y="133"/>
                  <a:pt x="18" y="133"/>
                  <a:pt x="18" y="133"/>
                </a:cubicBezTo>
                <a:cubicBezTo>
                  <a:pt x="13" y="133"/>
                  <a:pt x="8" y="132"/>
                  <a:pt x="5" y="128"/>
                </a:cubicBezTo>
                <a:cubicBezTo>
                  <a:pt x="1" y="125"/>
                  <a:pt x="0" y="120"/>
                  <a:pt x="0" y="115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42"/>
                  <a:pt x="1" y="36"/>
                  <a:pt x="3" y="30"/>
                </a:cubicBezTo>
                <a:cubicBezTo>
                  <a:pt x="6" y="24"/>
                  <a:pt x="9" y="19"/>
                  <a:pt x="14" y="14"/>
                </a:cubicBezTo>
                <a:cubicBezTo>
                  <a:pt x="18" y="10"/>
                  <a:pt x="23" y="7"/>
                  <a:pt x="29" y="4"/>
                </a:cubicBezTo>
                <a:cubicBezTo>
                  <a:pt x="35" y="2"/>
                  <a:pt x="41" y="0"/>
                  <a:pt x="48" y="0"/>
                </a:cubicBezTo>
                <a:cubicBezTo>
                  <a:pt x="54" y="0"/>
                  <a:pt x="54" y="0"/>
                  <a:pt x="54" y="0"/>
                </a:cubicBezTo>
                <a:cubicBezTo>
                  <a:pt x="56" y="0"/>
                  <a:pt x="57" y="1"/>
                  <a:pt x="58" y="2"/>
                </a:cubicBezTo>
                <a:cubicBezTo>
                  <a:pt x="60" y="3"/>
                  <a:pt x="60" y="5"/>
                  <a:pt x="60" y="6"/>
                </a:cubicBezTo>
                <a:cubicBezTo>
                  <a:pt x="60" y="18"/>
                  <a:pt x="60" y="18"/>
                  <a:pt x="60" y="18"/>
                </a:cubicBezTo>
                <a:cubicBezTo>
                  <a:pt x="60" y="20"/>
                  <a:pt x="60" y="22"/>
                  <a:pt x="58" y="23"/>
                </a:cubicBezTo>
                <a:cubicBezTo>
                  <a:pt x="57" y="24"/>
                  <a:pt x="56" y="25"/>
                  <a:pt x="54" y="25"/>
                </a:cubicBezTo>
                <a:cubicBezTo>
                  <a:pt x="48" y="25"/>
                  <a:pt x="48" y="25"/>
                  <a:pt x="48" y="25"/>
                </a:cubicBezTo>
                <a:cubicBezTo>
                  <a:pt x="41" y="25"/>
                  <a:pt x="36" y="27"/>
                  <a:pt x="31" y="32"/>
                </a:cubicBezTo>
                <a:cubicBezTo>
                  <a:pt x="26" y="36"/>
                  <a:pt x="24" y="42"/>
                  <a:pt x="24" y="49"/>
                </a:cubicBezTo>
                <a:cubicBezTo>
                  <a:pt x="24" y="52"/>
                  <a:pt x="24" y="52"/>
                  <a:pt x="24" y="52"/>
                </a:cubicBezTo>
                <a:cubicBezTo>
                  <a:pt x="24" y="54"/>
                  <a:pt x="25" y="56"/>
                  <a:pt x="26" y="58"/>
                </a:cubicBezTo>
                <a:cubicBezTo>
                  <a:pt x="28" y="60"/>
                  <a:pt x="30" y="61"/>
                  <a:pt x="33" y="61"/>
                </a:cubicBezTo>
                <a:cubicBezTo>
                  <a:pt x="54" y="61"/>
                  <a:pt x="54" y="61"/>
                  <a:pt x="54" y="61"/>
                </a:cubicBezTo>
                <a:cubicBezTo>
                  <a:pt x="59" y="61"/>
                  <a:pt x="63" y="63"/>
                  <a:pt x="67" y="66"/>
                </a:cubicBezTo>
                <a:cubicBezTo>
                  <a:pt x="70" y="70"/>
                  <a:pt x="72" y="74"/>
                  <a:pt x="72" y="79"/>
                </a:cubicBezTo>
                <a:close/>
                <a:moveTo>
                  <a:pt x="157" y="79"/>
                </a:moveTo>
                <a:cubicBezTo>
                  <a:pt x="157" y="115"/>
                  <a:pt x="157" y="115"/>
                  <a:pt x="157" y="115"/>
                </a:cubicBezTo>
                <a:cubicBezTo>
                  <a:pt x="157" y="120"/>
                  <a:pt x="155" y="125"/>
                  <a:pt x="152" y="128"/>
                </a:cubicBezTo>
                <a:cubicBezTo>
                  <a:pt x="148" y="132"/>
                  <a:pt x="144" y="133"/>
                  <a:pt x="139" y="133"/>
                </a:cubicBezTo>
                <a:cubicBezTo>
                  <a:pt x="102" y="133"/>
                  <a:pt x="102" y="133"/>
                  <a:pt x="102" y="133"/>
                </a:cubicBezTo>
                <a:cubicBezTo>
                  <a:pt x="97" y="133"/>
                  <a:pt x="93" y="132"/>
                  <a:pt x="90" y="128"/>
                </a:cubicBezTo>
                <a:cubicBezTo>
                  <a:pt x="86" y="125"/>
                  <a:pt x="84" y="120"/>
                  <a:pt x="84" y="115"/>
                </a:cubicBezTo>
                <a:cubicBezTo>
                  <a:pt x="84" y="49"/>
                  <a:pt x="84" y="49"/>
                  <a:pt x="84" y="49"/>
                </a:cubicBezTo>
                <a:cubicBezTo>
                  <a:pt x="84" y="42"/>
                  <a:pt x="86" y="36"/>
                  <a:pt x="88" y="30"/>
                </a:cubicBezTo>
                <a:cubicBezTo>
                  <a:pt x="91" y="24"/>
                  <a:pt x="94" y="19"/>
                  <a:pt x="99" y="14"/>
                </a:cubicBezTo>
                <a:cubicBezTo>
                  <a:pt x="103" y="10"/>
                  <a:pt x="108" y="7"/>
                  <a:pt x="114" y="4"/>
                </a:cubicBezTo>
                <a:cubicBezTo>
                  <a:pt x="120" y="2"/>
                  <a:pt x="126" y="0"/>
                  <a:pt x="133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0" y="0"/>
                  <a:pt x="142" y="1"/>
                  <a:pt x="143" y="2"/>
                </a:cubicBezTo>
                <a:cubicBezTo>
                  <a:pt x="144" y="3"/>
                  <a:pt x="145" y="5"/>
                  <a:pt x="145" y="6"/>
                </a:cubicBezTo>
                <a:cubicBezTo>
                  <a:pt x="145" y="18"/>
                  <a:pt x="145" y="18"/>
                  <a:pt x="145" y="18"/>
                </a:cubicBezTo>
                <a:cubicBezTo>
                  <a:pt x="145" y="20"/>
                  <a:pt x="144" y="22"/>
                  <a:pt x="143" y="23"/>
                </a:cubicBezTo>
                <a:cubicBezTo>
                  <a:pt x="142" y="24"/>
                  <a:pt x="140" y="25"/>
                  <a:pt x="139" y="25"/>
                </a:cubicBezTo>
                <a:cubicBezTo>
                  <a:pt x="133" y="25"/>
                  <a:pt x="133" y="25"/>
                  <a:pt x="133" y="25"/>
                </a:cubicBezTo>
                <a:cubicBezTo>
                  <a:pt x="126" y="25"/>
                  <a:pt x="120" y="27"/>
                  <a:pt x="116" y="32"/>
                </a:cubicBezTo>
                <a:cubicBezTo>
                  <a:pt x="111" y="36"/>
                  <a:pt x="109" y="42"/>
                  <a:pt x="109" y="49"/>
                </a:cubicBezTo>
                <a:cubicBezTo>
                  <a:pt x="109" y="52"/>
                  <a:pt x="109" y="52"/>
                  <a:pt x="109" y="52"/>
                </a:cubicBezTo>
                <a:cubicBezTo>
                  <a:pt x="109" y="54"/>
                  <a:pt x="109" y="56"/>
                  <a:pt x="111" y="58"/>
                </a:cubicBezTo>
                <a:cubicBezTo>
                  <a:pt x="113" y="60"/>
                  <a:pt x="115" y="61"/>
                  <a:pt x="118" y="61"/>
                </a:cubicBezTo>
                <a:cubicBezTo>
                  <a:pt x="139" y="61"/>
                  <a:pt x="139" y="61"/>
                  <a:pt x="139" y="61"/>
                </a:cubicBezTo>
                <a:cubicBezTo>
                  <a:pt x="144" y="61"/>
                  <a:pt x="148" y="63"/>
                  <a:pt x="152" y="66"/>
                </a:cubicBezTo>
                <a:cubicBezTo>
                  <a:pt x="155" y="70"/>
                  <a:pt x="157" y="74"/>
                  <a:pt x="157" y="79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 dirty="0">
              <a:latin typeface="Microsoft Sans Serif" charset="0"/>
              <a:ea typeface="Microsoft Sans Serif" charset="0"/>
              <a:cs typeface="Microsoft Sans Serif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783C785-FFB4-4167-AB05-940594528F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14129" y="1200931"/>
            <a:ext cx="2391222" cy="4742669"/>
          </a:xfrm>
          <a:prstGeom prst="rect">
            <a:avLst/>
          </a:prstGeom>
        </p:spPr>
        <p:txBody>
          <a:bodyPr lIns="91440" tIns="91440" rIns="91440" bIns="9144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 cap="none" spc="0" baseline="0">
                <a:solidFill>
                  <a:schemeClr val="accent3"/>
                </a:solidFill>
                <a:latin typeface="+mj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9838640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9977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4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C9895B-2004-47DF-BDB6-615CA0436FD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buClr>
                <a:schemeClr val="accent3"/>
              </a:buClr>
              <a:buSzPct val="100000"/>
              <a:defRPr sz="14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DFF06A70-FF15-4BD6-81F6-7A7F6373D81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57950" y="502616"/>
            <a:ext cx="5353050" cy="34663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1" cap="all" spc="54" baseline="0">
                <a:solidFill>
                  <a:schemeClr val="accent1"/>
                </a:solidFill>
                <a:latin typeface="+mj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C50BC3-C717-47D4-933F-3C758270E7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57950" y="913325"/>
            <a:ext cx="5353050" cy="11615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300"/>
              </a:lnSpc>
              <a:spcBef>
                <a:spcPts val="0"/>
              </a:spcBef>
              <a:buNone/>
              <a:defRPr sz="1600" b="0" cap="none" spc="0" baseline="0">
                <a:solidFill>
                  <a:schemeClr val="accent6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0885B8B-BA4A-4798-AEFB-086DF86C1423}"/>
              </a:ext>
            </a:extLst>
          </p:cNvPr>
          <p:cNvCxnSpPr>
            <a:cxnSpLocks/>
          </p:cNvCxnSpPr>
          <p:nvPr userDrawn="1"/>
        </p:nvCxnSpPr>
        <p:spPr>
          <a:xfrm>
            <a:off x="6457950" y="457200"/>
            <a:ext cx="72934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38FD346-AF5A-4DD4-B7E6-FF684E74FED9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34125" y="1200932"/>
            <a:ext cx="5476875" cy="4742668"/>
          </a:xfrm>
          <a:prstGeom prst="rect">
            <a:avLst/>
          </a:prstGeom>
          <a:noFill/>
        </p:spPr>
        <p:txBody>
          <a:bodyPr lIns="0" tIns="0" rIns="0" bIns="0"/>
          <a:lstStyle>
            <a:lvl1pPr marL="342900" indent="-227013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 sz="1400">
                <a:solidFill>
                  <a:schemeClr val="accent1"/>
                </a:solidFill>
                <a:latin typeface="+mj-lt"/>
              </a:defRPr>
            </a:lvl1pPr>
            <a:lvl2pPr marL="742950" indent="-28575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400">
                <a:solidFill>
                  <a:schemeClr val="accent5"/>
                </a:solidFill>
                <a:latin typeface="+mj-lt"/>
              </a:defRPr>
            </a:lvl2pPr>
            <a:lvl3pPr marL="1143000" indent="-2286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5000"/>
              <a:buFont typeface="Wingdings" panose="05000000000000000000" pitchFamily="2" charset="2"/>
              <a:buChar char="§"/>
              <a:defRPr sz="1200" b="0">
                <a:solidFill>
                  <a:schemeClr val="accent1"/>
                </a:solidFill>
                <a:latin typeface="Calibri Light" panose="020F0302020204030204" pitchFamily="34" charset="0"/>
              </a:defRPr>
            </a:lvl3pPr>
            <a:lvl4pPr marL="1600200" indent="-22860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5000"/>
              <a:buFont typeface="Calibri Light" panose="020F0302020204030204" pitchFamily="34" charset="0"/>
              <a:buChar char="»"/>
              <a:defRPr>
                <a:solidFill>
                  <a:schemeClr val="accent1"/>
                </a:solidFill>
              </a:defRPr>
            </a:lvl4pPr>
            <a:lvl5pPr marL="2057400" indent="-2286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5000"/>
              <a:buFont typeface="Wingdings" panose="05000000000000000000" pitchFamily="2" charset="2"/>
              <a:buChar char="§"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00536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ntent with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F8D57A0-E489-4C8A-9F2F-48542CC076C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4089400"/>
            <a:ext cx="6096000" cy="2768599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115887" indent="0" algn="ctr">
              <a:buNone/>
              <a:defRPr spc="3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490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8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1C80F53-FFEA-4F26-B788-960238B378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02616"/>
            <a:ext cx="5524500" cy="34663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1" cap="all" spc="54" baseline="0">
                <a:solidFill>
                  <a:schemeClr val="accent1"/>
                </a:solidFill>
                <a:latin typeface="+mj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E6DB6549-400F-458E-A10D-A97D28DD3F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913325"/>
            <a:ext cx="5524500" cy="11615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300"/>
              </a:lnSpc>
              <a:spcBef>
                <a:spcPts val="0"/>
              </a:spcBef>
              <a:buNone/>
              <a:defRPr sz="1600" b="0" cap="none" spc="0" baseline="0">
                <a:solidFill>
                  <a:schemeClr val="accent6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5CE5606-EBA7-43A7-A7EC-16E0E35EBCB6}"/>
              </a:ext>
            </a:extLst>
          </p:cNvPr>
          <p:cNvCxnSpPr>
            <a:cxnSpLocks/>
          </p:cNvCxnSpPr>
          <p:nvPr userDrawn="1"/>
        </p:nvCxnSpPr>
        <p:spPr>
          <a:xfrm>
            <a:off x="381000" y="457200"/>
            <a:ext cx="72934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F1A5A30-507D-4C3F-A6C1-E824EE1B803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257175" y="1200932"/>
            <a:ext cx="5648325" cy="4742668"/>
          </a:xfrm>
          <a:prstGeom prst="rect">
            <a:avLst/>
          </a:prstGeom>
          <a:noFill/>
        </p:spPr>
        <p:txBody>
          <a:bodyPr lIns="0" tIns="0" rIns="0" bIns="0"/>
          <a:lstStyle>
            <a:lvl1pPr marL="342900" indent="-227013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 sz="1400">
                <a:solidFill>
                  <a:schemeClr val="accent1"/>
                </a:solidFill>
                <a:latin typeface="+mj-lt"/>
              </a:defRPr>
            </a:lvl1pPr>
            <a:lvl2pPr marL="742950" indent="-28575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400">
                <a:solidFill>
                  <a:schemeClr val="accent5"/>
                </a:solidFill>
                <a:latin typeface="+mj-lt"/>
              </a:defRPr>
            </a:lvl2pPr>
            <a:lvl3pPr marL="1143000" indent="-2286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5000"/>
              <a:buFont typeface="Wingdings" panose="05000000000000000000" pitchFamily="2" charset="2"/>
              <a:buChar char="§"/>
              <a:defRPr sz="1200" b="0">
                <a:solidFill>
                  <a:schemeClr val="accent1"/>
                </a:solidFill>
                <a:latin typeface="Calibri Light" panose="020F0302020204030204" pitchFamily="34" charset="0"/>
              </a:defRPr>
            </a:lvl3pPr>
            <a:lvl4pPr marL="1600200" indent="-22860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5000"/>
              <a:buFont typeface="Calibri Light" panose="020F0302020204030204" pitchFamily="34" charset="0"/>
              <a:buChar char="»"/>
              <a:defRPr>
                <a:solidFill>
                  <a:schemeClr val="accent1"/>
                </a:solidFill>
              </a:defRPr>
            </a:lvl4pPr>
            <a:lvl5pPr marL="2057400" indent="-2286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5000"/>
              <a:buFont typeface="Wingdings" panose="05000000000000000000" pitchFamily="2" charset="2"/>
              <a:buChar char="§"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75D1BDC6-5FA0-4825-9C2D-A427A948F8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175"/>
            <a:ext cx="6096000" cy="408622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>
            <a:lvl1pPr>
              <a:buClr>
                <a:schemeClr val="accent3"/>
              </a:buClr>
              <a:buSzPct val="100000"/>
              <a:defRPr sz="140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19677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739DEE4-C836-4C4A-BF1C-681DC47B98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15" r="315"/>
          <a:stretch/>
        </p:blipFill>
        <p:spPr>
          <a:xfrm>
            <a:off x="0" y="3175"/>
            <a:ext cx="12192000" cy="6901391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4007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A734289A-0D46-4900-B18F-DCE90C2D6523}"/>
              </a:ext>
            </a:extLst>
          </p:cNvPr>
          <p:cNvSpPr/>
          <p:nvPr userDrawn="1"/>
        </p:nvSpPr>
        <p:spPr>
          <a:xfrm>
            <a:off x="0" y="1948264"/>
            <a:ext cx="4005696" cy="2961481"/>
          </a:xfrm>
          <a:prstGeom prst="rect">
            <a:avLst/>
          </a:prstGeom>
          <a:solidFill>
            <a:schemeClr val="accent3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16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F3A9776-F725-4F65-990C-7A6F97975AC2}"/>
              </a:ext>
            </a:extLst>
          </p:cNvPr>
          <p:cNvCxnSpPr/>
          <p:nvPr userDrawn="1"/>
        </p:nvCxnSpPr>
        <p:spPr>
          <a:xfrm>
            <a:off x="381001" y="2239877"/>
            <a:ext cx="990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57B610F-16ED-4D1B-9FE1-991B2DEACD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2" y="2353721"/>
            <a:ext cx="3624694" cy="100027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600" b="1" cap="all" spc="54" baseline="0">
                <a:solidFill>
                  <a:schemeClr val="bg1"/>
                </a:solidFill>
                <a:latin typeface="+mj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0946500-C16C-4122-9448-DDFD65ACE2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0634" y="3467837"/>
            <a:ext cx="3615061" cy="46068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300"/>
              </a:lnSpc>
              <a:spcBef>
                <a:spcPts val="0"/>
              </a:spcBef>
              <a:buNone/>
              <a:defRPr sz="1200" b="0" cap="none" spc="0" baseline="0">
                <a:solidFill>
                  <a:schemeClr val="bg1"/>
                </a:solidFill>
                <a:latin typeface="+mj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341BD50-63DA-4EA1-A19E-A03512B2FDE6}"/>
              </a:ext>
            </a:extLst>
          </p:cNvPr>
          <p:cNvSpPr txBox="1"/>
          <p:nvPr userDrawn="1"/>
        </p:nvSpPr>
        <p:spPr>
          <a:xfrm>
            <a:off x="8632618" y="6403760"/>
            <a:ext cx="255093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b="1" spc="32" baseline="0" dirty="0">
                <a:solidFill>
                  <a:schemeClr val="bg1"/>
                </a:solidFill>
                <a:latin typeface="+mj-lt"/>
              </a:rPr>
              <a:t>CONFIDENTIAL </a:t>
            </a:r>
            <a:r>
              <a:rPr lang="en-US" sz="800" spc="300" dirty="0">
                <a:solidFill>
                  <a:schemeClr val="bg1"/>
                </a:solidFill>
                <a:latin typeface="+mj-lt"/>
              </a:rPr>
              <a:t>|</a:t>
            </a:r>
            <a:r>
              <a:rPr lang="en-US" sz="800" b="1" spc="32" baseline="0" dirty="0">
                <a:solidFill>
                  <a:schemeClr val="bg1"/>
                </a:solidFill>
                <a:latin typeface="+mj-lt"/>
              </a:rPr>
              <a:t>NOT FOR DISTRIBUTION 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0A586072-841D-44D9-825D-6BC4D20BEB0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87220" y="6241905"/>
            <a:ext cx="600069" cy="454616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3427479-A929-4A98-A2DC-A34D3BF6134D}"/>
              </a:ext>
            </a:extLst>
          </p:cNvPr>
          <p:cNvCxnSpPr>
            <a:cxnSpLocks/>
          </p:cNvCxnSpPr>
          <p:nvPr userDrawn="1"/>
        </p:nvCxnSpPr>
        <p:spPr>
          <a:xfrm>
            <a:off x="1105060" y="6460910"/>
            <a:ext cx="807704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C6283047-BAAB-4830-A77C-09BD0BE1FC48}"/>
              </a:ext>
            </a:extLst>
          </p:cNvPr>
          <p:cNvSpPr/>
          <p:nvPr userDrawn="1"/>
        </p:nvSpPr>
        <p:spPr>
          <a:xfrm>
            <a:off x="4082143" y="1948263"/>
            <a:ext cx="163286" cy="2961481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rtlCol="0" anchor="ctr" anchorCtr="0">
            <a:noAutofit/>
          </a:bodyPr>
          <a:lstStyle/>
          <a:p>
            <a:pPr algn="ctr" defTabSz="1466850" fontAlgn="auto">
              <a:lnSpc>
                <a:spcPct val="90000"/>
              </a:lnSpc>
              <a:spcAft>
                <a:spcPts val="0"/>
              </a:spcAft>
            </a:pPr>
            <a:endParaRPr lang="en-US" sz="1000" dirty="0" err="1">
              <a:solidFill>
                <a:prstClr val="white"/>
              </a:solidFill>
              <a:latin typeface="Calibri Light" panose="020F030202020403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A428975-284D-4512-AFDD-EFFBD534A2A1}"/>
              </a:ext>
            </a:extLst>
          </p:cNvPr>
          <p:cNvSpPr/>
          <p:nvPr userDrawn="1"/>
        </p:nvSpPr>
        <p:spPr>
          <a:xfrm>
            <a:off x="-1" y="3734492"/>
            <a:ext cx="4005696" cy="1175253"/>
          </a:xfrm>
          <a:prstGeom prst="rect">
            <a:avLst/>
          </a:prstGeom>
          <a:blipFill dpi="0" rotWithShape="1">
            <a:blip r:embed="rId8"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rtlCol="0" anchor="ctr" anchorCtr="0">
            <a:noAutofit/>
          </a:bodyPr>
          <a:lstStyle/>
          <a:p>
            <a:pPr algn="ctr" defTabSz="1466850" fontAlgn="auto">
              <a:lnSpc>
                <a:spcPct val="90000"/>
              </a:lnSpc>
              <a:spcAft>
                <a:spcPts val="0"/>
              </a:spcAft>
            </a:pPr>
            <a:endParaRPr lang="en-US" sz="1000" dirty="0" err="1">
              <a:solidFill>
                <a:prstClr val="white"/>
              </a:solidFill>
              <a:latin typeface="Calibri Light" panose="020F030202020403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A7CEF00-2C0A-4337-8BF1-61804448CD75}"/>
              </a:ext>
            </a:extLst>
          </p:cNvPr>
          <p:cNvSpPr txBox="1"/>
          <p:nvPr userDrawn="1"/>
        </p:nvSpPr>
        <p:spPr>
          <a:xfrm>
            <a:off x="11422166" y="6403760"/>
            <a:ext cx="22424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27692F5A-FC14-4E83-B4CC-18F6C2D780A4}" type="slidenum">
              <a:rPr lang="en-US" sz="800" b="0" spc="32" baseline="0" smtClean="0">
                <a:solidFill>
                  <a:schemeClr val="bg1"/>
                </a:solidFill>
                <a:latin typeface="+mn-lt"/>
              </a:rPr>
              <a:pPr algn="ctr"/>
              <a:t>‹#›</a:t>
            </a:fld>
            <a:endParaRPr lang="en-US" sz="800" b="0" spc="32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0" name="Freeform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3C928106-3098-4B1C-80AF-50342D9FE06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646408" y="6384969"/>
            <a:ext cx="164592" cy="164592"/>
          </a:xfrm>
          <a:custGeom>
            <a:avLst/>
            <a:gdLst>
              <a:gd name="T0" fmla="*/ 883 w 2350"/>
              <a:gd name="T1" fmla="*/ 679 h 2350"/>
              <a:gd name="T2" fmla="*/ 1338 w 2350"/>
              <a:gd name="T3" fmla="*/ 1175 h 2350"/>
              <a:gd name="T4" fmla="*/ 883 w 2350"/>
              <a:gd name="T5" fmla="*/ 1671 h 2350"/>
              <a:gd name="T6" fmla="*/ 883 w 2350"/>
              <a:gd name="T7" fmla="*/ 1813 h 2350"/>
              <a:gd name="T8" fmla="*/ 1023 w 2350"/>
              <a:gd name="T9" fmla="*/ 1813 h 2350"/>
              <a:gd name="T10" fmla="*/ 1579 w 2350"/>
              <a:gd name="T11" fmla="*/ 1246 h 2350"/>
              <a:gd name="T12" fmla="*/ 1579 w 2350"/>
              <a:gd name="T13" fmla="*/ 1104 h 2350"/>
              <a:gd name="T14" fmla="*/ 1023 w 2350"/>
              <a:gd name="T15" fmla="*/ 537 h 2350"/>
              <a:gd name="T16" fmla="*/ 883 w 2350"/>
              <a:gd name="T17" fmla="*/ 537 h 2350"/>
              <a:gd name="T18" fmla="*/ 883 w 2350"/>
              <a:gd name="T19" fmla="*/ 679 h 2350"/>
              <a:gd name="T20" fmla="*/ 0 w 2350"/>
              <a:gd name="T21" fmla="*/ 1175 h 2350"/>
              <a:gd name="T22" fmla="*/ 1175 w 2350"/>
              <a:gd name="T23" fmla="*/ 2350 h 2350"/>
              <a:gd name="T24" fmla="*/ 2350 w 2350"/>
              <a:gd name="T25" fmla="*/ 1175 h 2350"/>
              <a:gd name="T26" fmla="*/ 1175 w 2350"/>
              <a:gd name="T27" fmla="*/ 0 h 2350"/>
              <a:gd name="T28" fmla="*/ 0 w 2350"/>
              <a:gd name="T29" fmla="*/ 1175 h 2350"/>
              <a:gd name="T30" fmla="*/ 2198 w 2350"/>
              <a:gd name="T31" fmla="*/ 1175 h 2350"/>
              <a:gd name="T32" fmla="*/ 1175 w 2350"/>
              <a:gd name="T33" fmla="*/ 2198 h 2350"/>
              <a:gd name="T34" fmla="*/ 152 w 2350"/>
              <a:gd name="T35" fmla="*/ 1175 h 2350"/>
              <a:gd name="T36" fmla="*/ 1175 w 2350"/>
              <a:gd name="T37" fmla="*/ 152 h 2350"/>
              <a:gd name="T38" fmla="*/ 2198 w 2350"/>
              <a:gd name="T39" fmla="*/ 1175 h 2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50" h="235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/>
          </a:p>
        </p:txBody>
      </p:sp>
      <p:sp>
        <p:nvSpPr>
          <p:cNvPr id="41" name="Freeform 5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BA17B29D-B745-4384-8DA6-0EEDC806FCC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257574" y="6384969"/>
            <a:ext cx="164592" cy="164592"/>
          </a:xfrm>
          <a:custGeom>
            <a:avLst/>
            <a:gdLst>
              <a:gd name="T0" fmla="*/ 1467 w 2350"/>
              <a:gd name="T1" fmla="*/ 1671 h 2350"/>
              <a:gd name="T2" fmla="*/ 1012 w 2350"/>
              <a:gd name="T3" fmla="*/ 1175 h 2350"/>
              <a:gd name="T4" fmla="*/ 1467 w 2350"/>
              <a:gd name="T5" fmla="*/ 679 h 2350"/>
              <a:gd name="T6" fmla="*/ 1467 w 2350"/>
              <a:gd name="T7" fmla="*/ 537 h 2350"/>
              <a:gd name="T8" fmla="*/ 1327 w 2350"/>
              <a:gd name="T9" fmla="*/ 537 h 2350"/>
              <a:gd name="T10" fmla="*/ 771 w 2350"/>
              <a:gd name="T11" fmla="*/ 1104 h 2350"/>
              <a:gd name="T12" fmla="*/ 771 w 2350"/>
              <a:gd name="T13" fmla="*/ 1246 h 2350"/>
              <a:gd name="T14" fmla="*/ 1327 w 2350"/>
              <a:gd name="T15" fmla="*/ 1813 h 2350"/>
              <a:gd name="T16" fmla="*/ 1467 w 2350"/>
              <a:gd name="T17" fmla="*/ 1813 h 2350"/>
              <a:gd name="T18" fmla="*/ 1467 w 2350"/>
              <a:gd name="T19" fmla="*/ 1671 h 2350"/>
              <a:gd name="T20" fmla="*/ 2350 w 2350"/>
              <a:gd name="T21" fmla="*/ 1175 h 2350"/>
              <a:gd name="T22" fmla="*/ 1175 w 2350"/>
              <a:gd name="T23" fmla="*/ 0 h 2350"/>
              <a:gd name="T24" fmla="*/ 0 w 2350"/>
              <a:gd name="T25" fmla="*/ 1175 h 2350"/>
              <a:gd name="T26" fmla="*/ 1175 w 2350"/>
              <a:gd name="T27" fmla="*/ 2350 h 2350"/>
              <a:gd name="T28" fmla="*/ 2350 w 2350"/>
              <a:gd name="T29" fmla="*/ 1175 h 2350"/>
              <a:gd name="T30" fmla="*/ 152 w 2350"/>
              <a:gd name="T31" fmla="*/ 1175 h 2350"/>
              <a:gd name="T32" fmla="*/ 1175 w 2350"/>
              <a:gd name="T33" fmla="*/ 152 h 2350"/>
              <a:gd name="T34" fmla="*/ 2198 w 2350"/>
              <a:gd name="T35" fmla="*/ 1175 h 2350"/>
              <a:gd name="T36" fmla="*/ 1175 w 2350"/>
              <a:gd name="T37" fmla="*/ 2198 h 2350"/>
              <a:gd name="T38" fmla="*/ 152 w 2350"/>
              <a:gd name="T39" fmla="*/ 1175 h 2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50" h="235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3179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739DEE4-C836-4C4A-BF1C-681DC47B98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81" r="181"/>
          <a:stretch/>
        </p:blipFill>
        <p:spPr>
          <a:xfrm>
            <a:off x="0" y="0"/>
            <a:ext cx="12192000" cy="688287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094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5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A734289A-0D46-4900-B18F-DCE90C2D6523}"/>
              </a:ext>
            </a:extLst>
          </p:cNvPr>
          <p:cNvSpPr/>
          <p:nvPr userDrawn="1"/>
        </p:nvSpPr>
        <p:spPr>
          <a:xfrm>
            <a:off x="0" y="1948264"/>
            <a:ext cx="4005697" cy="2961481"/>
          </a:xfrm>
          <a:prstGeom prst="rect">
            <a:avLst/>
          </a:prstGeom>
          <a:solidFill>
            <a:schemeClr val="accent3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16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341BD50-63DA-4EA1-A19E-A03512B2FDE6}"/>
              </a:ext>
            </a:extLst>
          </p:cNvPr>
          <p:cNvSpPr txBox="1"/>
          <p:nvPr userDrawn="1"/>
        </p:nvSpPr>
        <p:spPr>
          <a:xfrm>
            <a:off x="8632618" y="6403760"/>
            <a:ext cx="255093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b="1" spc="32" baseline="0" dirty="0">
                <a:solidFill>
                  <a:schemeClr val="bg1"/>
                </a:solidFill>
                <a:latin typeface="+mj-lt"/>
              </a:rPr>
              <a:t>CONFIDENTIAL </a:t>
            </a:r>
            <a:r>
              <a:rPr lang="en-US" sz="800" spc="300" dirty="0">
                <a:solidFill>
                  <a:schemeClr val="bg1"/>
                </a:solidFill>
                <a:latin typeface="+mj-lt"/>
              </a:rPr>
              <a:t>|</a:t>
            </a:r>
            <a:r>
              <a:rPr lang="en-US" sz="800" b="1" spc="32" baseline="0" dirty="0">
                <a:solidFill>
                  <a:schemeClr val="bg1"/>
                </a:solidFill>
                <a:latin typeface="+mj-lt"/>
              </a:rPr>
              <a:t>NOT FOR DISTRIBUTION 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0A586072-841D-44D9-825D-6BC4D20BEB0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87220" y="6241905"/>
            <a:ext cx="600069" cy="454616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3427479-A929-4A98-A2DC-A34D3BF6134D}"/>
              </a:ext>
            </a:extLst>
          </p:cNvPr>
          <p:cNvCxnSpPr>
            <a:cxnSpLocks/>
          </p:cNvCxnSpPr>
          <p:nvPr userDrawn="1"/>
        </p:nvCxnSpPr>
        <p:spPr>
          <a:xfrm>
            <a:off x="1105060" y="6460910"/>
            <a:ext cx="807704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CEA87FC1-2583-4749-9CB0-86E05A785822}"/>
              </a:ext>
            </a:extLst>
          </p:cNvPr>
          <p:cNvSpPr/>
          <p:nvPr userDrawn="1"/>
        </p:nvSpPr>
        <p:spPr>
          <a:xfrm>
            <a:off x="4082143" y="1948263"/>
            <a:ext cx="163286" cy="2961481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rtlCol="0" anchor="ctr" anchorCtr="0">
            <a:noAutofit/>
          </a:bodyPr>
          <a:lstStyle/>
          <a:p>
            <a:pPr algn="ctr" defTabSz="1466850" fontAlgn="auto">
              <a:lnSpc>
                <a:spcPct val="90000"/>
              </a:lnSpc>
              <a:spcAft>
                <a:spcPts val="0"/>
              </a:spcAft>
            </a:pPr>
            <a:endParaRPr lang="en-US" sz="1000" dirty="0" err="1">
              <a:solidFill>
                <a:prstClr val="white"/>
              </a:solidFill>
              <a:latin typeface="Calibri Light" panose="020F0302020204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5CBF2CD-8AF8-412B-A677-23B5CC22795C}"/>
              </a:ext>
            </a:extLst>
          </p:cNvPr>
          <p:cNvCxnSpPr/>
          <p:nvPr userDrawn="1"/>
        </p:nvCxnSpPr>
        <p:spPr>
          <a:xfrm>
            <a:off x="381001" y="2239877"/>
            <a:ext cx="990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17BE256-0F02-4A7B-B091-DB35358DD4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2" y="2353721"/>
            <a:ext cx="3624694" cy="100027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600" b="1" cap="all" spc="54" baseline="0">
                <a:solidFill>
                  <a:schemeClr val="bg1"/>
                </a:solidFill>
                <a:latin typeface="+mj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E5B9E99D-E3E0-4F84-98D2-ACCFC04A3A5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0634" y="3467837"/>
            <a:ext cx="3615061" cy="46068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300"/>
              </a:lnSpc>
              <a:spcBef>
                <a:spcPts val="0"/>
              </a:spcBef>
              <a:buNone/>
              <a:defRPr sz="1200" b="0" cap="none" spc="0" baseline="0">
                <a:solidFill>
                  <a:schemeClr val="bg1"/>
                </a:solidFill>
                <a:latin typeface="+mj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78FBA54-DCC5-450F-B541-06257348100C}"/>
              </a:ext>
            </a:extLst>
          </p:cNvPr>
          <p:cNvSpPr/>
          <p:nvPr userDrawn="1"/>
        </p:nvSpPr>
        <p:spPr>
          <a:xfrm>
            <a:off x="-1" y="3734492"/>
            <a:ext cx="4005696" cy="1175253"/>
          </a:xfrm>
          <a:prstGeom prst="rect">
            <a:avLst/>
          </a:prstGeom>
          <a:blipFill dpi="0" rotWithShape="1">
            <a:blip r:embed="rId8"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rtlCol="0" anchor="ctr" anchorCtr="0">
            <a:noAutofit/>
          </a:bodyPr>
          <a:lstStyle/>
          <a:p>
            <a:pPr algn="ctr" defTabSz="1466850" fontAlgn="auto">
              <a:lnSpc>
                <a:spcPct val="90000"/>
              </a:lnSpc>
              <a:spcAft>
                <a:spcPts val="0"/>
              </a:spcAft>
            </a:pPr>
            <a:endParaRPr lang="en-US" sz="1000" dirty="0" err="1">
              <a:solidFill>
                <a:prstClr val="white"/>
              </a:solidFill>
              <a:latin typeface="Calibri Light" panose="020F03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AD18696-2910-4BE2-A9FD-D33406F20918}"/>
              </a:ext>
            </a:extLst>
          </p:cNvPr>
          <p:cNvSpPr txBox="1"/>
          <p:nvPr userDrawn="1"/>
        </p:nvSpPr>
        <p:spPr>
          <a:xfrm>
            <a:off x="11422166" y="6403760"/>
            <a:ext cx="22424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27692F5A-FC14-4E83-B4CC-18F6C2D780A4}" type="slidenum">
              <a:rPr lang="en-US" sz="800" b="0" spc="32" baseline="0" smtClean="0">
                <a:solidFill>
                  <a:schemeClr val="bg1"/>
                </a:solidFill>
                <a:latin typeface="+mn-lt"/>
              </a:rPr>
              <a:pPr algn="ctr"/>
              <a:t>‹#›</a:t>
            </a:fld>
            <a:endParaRPr lang="en-US" sz="800" b="0" spc="32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Freeform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45CFCBEA-0833-4478-A870-23D3EFAF352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646408" y="6384969"/>
            <a:ext cx="164592" cy="164592"/>
          </a:xfrm>
          <a:custGeom>
            <a:avLst/>
            <a:gdLst>
              <a:gd name="T0" fmla="*/ 883 w 2350"/>
              <a:gd name="T1" fmla="*/ 679 h 2350"/>
              <a:gd name="T2" fmla="*/ 1338 w 2350"/>
              <a:gd name="T3" fmla="*/ 1175 h 2350"/>
              <a:gd name="T4" fmla="*/ 883 w 2350"/>
              <a:gd name="T5" fmla="*/ 1671 h 2350"/>
              <a:gd name="T6" fmla="*/ 883 w 2350"/>
              <a:gd name="T7" fmla="*/ 1813 h 2350"/>
              <a:gd name="T8" fmla="*/ 1023 w 2350"/>
              <a:gd name="T9" fmla="*/ 1813 h 2350"/>
              <a:gd name="T10" fmla="*/ 1579 w 2350"/>
              <a:gd name="T11" fmla="*/ 1246 h 2350"/>
              <a:gd name="T12" fmla="*/ 1579 w 2350"/>
              <a:gd name="T13" fmla="*/ 1104 h 2350"/>
              <a:gd name="T14" fmla="*/ 1023 w 2350"/>
              <a:gd name="T15" fmla="*/ 537 h 2350"/>
              <a:gd name="T16" fmla="*/ 883 w 2350"/>
              <a:gd name="T17" fmla="*/ 537 h 2350"/>
              <a:gd name="T18" fmla="*/ 883 w 2350"/>
              <a:gd name="T19" fmla="*/ 679 h 2350"/>
              <a:gd name="T20" fmla="*/ 0 w 2350"/>
              <a:gd name="T21" fmla="*/ 1175 h 2350"/>
              <a:gd name="T22" fmla="*/ 1175 w 2350"/>
              <a:gd name="T23" fmla="*/ 2350 h 2350"/>
              <a:gd name="T24" fmla="*/ 2350 w 2350"/>
              <a:gd name="T25" fmla="*/ 1175 h 2350"/>
              <a:gd name="T26" fmla="*/ 1175 w 2350"/>
              <a:gd name="T27" fmla="*/ 0 h 2350"/>
              <a:gd name="T28" fmla="*/ 0 w 2350"/>
              <a:gd name="T29" fmla="*/ 1175 h 2350"/>
              <a:gd name="T30" fmla="*/ 2198 w 2350"/>
              <a:gd name="T31" fmla="*/ 1175 h 2350"/>
              <a:gd name="T32" fmla="*/ 1175 w 2350"/>
              <a:gd name="T33" fmla="*/ 2198 h 2350"/>
              <a:gd name="T34" fmla="*/ 152 w 2350"/>
              <a:gd name="T35" fmla="*/ 1175 h 2350"/>
              <a:gd name="T36" fmla="*/ 1175 w 2350"/>
              <a:gd name="T37" fmla="*/ 152 h 2350"/>
              <a:gd name="T38" fmla="*/ 2198 w 2350"/>
              <a:gd name="T39" fmla="*/ 1175 h 2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50" h="235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/>
          </a:p>
        </p:txBody>
      </p:sp>
      <p:sp>
        <p:nvSpPr>
          <p:cNvPr id="26" name="Freeform 5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A7D11307-593F-45E8-8E3C-F86BB2B9D31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257574" y="6384969"/>
            <a:ext cx="164592" cy="164592"/>
          </a:xfrm>
          <a:custGeom>
            <a:avLst/>
            <a:gdLst>
              <a:gd name="T0" fmla="*/ 1467 w 2350"/>
              <a:gd name="T1" fmla="*/ 1671 h 2350"/>
              <a:gd name="T2" fmla="*/ 1012 w 2350"/>
              <a:gd name="T3" fmla="*/ 1175 h 2350"/>
              <a:gd name="T4" fmla="*/ 1467 w 2350"/>
              <a:gd name="T5" fmla="*/ 679 h 2350"/>
              <a:gd name="T6" fmla="*/ 1467 w 2350"/>
              <a:gd name="T7" fmla="*/ 537 h 2350"/>
              <a:gd name="T8" fmla="*/ 1327 w 2350"/>
              <a:gd name="T9" fmla="*/ 537 h 2350"/>
              <a:gd name="T10" fmla="*/ 771 w 2350"/>
              <a:gd name="T11" fmla="*/ 1104 h 2350"/>
              <a:gd name="T12" fmla="*/ 771 w 2350"/>
              <a:gd name="T13" fmla="*/ 1246 h 2350"/>
              <a:gd name="T14" fmla="*/ 1327 w 2350"/>
              <a:gd name="T15" fmla="*/ 1813 h 2350"/>
              <a:gd name="T16" fmla="*/ 1467 w 2350"/>
              <a:gd name="T17" fmla="*/ 1813 h 2350"/>
              <a:gd name="T18" fmla="*/ 1467 w 2350"/>
              <a:gd name="T19" fmla="*/ 1671 h 2350"/>
              <a:gd name="T20" fmla="*/ 2350 w 2350"/>
              <a:gd name="T21" fmla="*/ 1175 h 2350"/>
              <a:gd name="T22" fmla="*/ 1175 w 2350"/>
              <a:gd name="T23" fmla="*/ 0 h 2350"/>
              <a:gd name="T24" fmla="*/ 0 w 2350"/>
              <a:gd name="T25" fmla="*/ 1175 h 2350"/>
              <a:gd name="T26" fmla="*/ 1175 w 2350"/>
              <a:gd name="T27" fmla="*/ 2350 h 2350"/>
              <a:gd name="T28" fmla="*/ 2350 w 2350"/>
              <a:gd name="T29" fmla="*/ 1175 h 2350"/>
              <a:gd name="T30" fmla="*/ 152 w 2350"/>
              <a:gd name="T31" fmla="*/ 1175 h 2350"/>
              <a:gd name="T32" fmla="*/ 1175 w 2350"/>
              <a:gd name="T33" fmla="*/ 152 h 2350"/>
              <a:gd name="T34" fmla="*/ 2198 w 2350"/>
              <a:gd name="T35" fmla="*/ 1175 h 2350"/>
              <a:gd name="T36" fmla="*/ 1175 w 2350"/>
              <a:gd name="T37" fmla="*/ 2198 h 2350"/>
              <a:gd name="T38" fmla="*/ 152 w 2350"/>
              <a:gd name="T39" fmla="*/ 1175 h 2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50" h="235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0345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739DEE4-C836-4C4A-BF1C-681DC47B98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90" r="90"/>
          <a:stretch/>
        </p:blipFill>
        <p:spPr>
          <a:xfrm>
            <a:off x="0" y="0"/>
            <a:ext cx="12192000" cy="687043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01904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0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A734289A-0D46-4900-B18F-DCE90C2D6523}"/>
              </a:ext>
            </a:extLst>
          </p:cNvPr>
          <p:cNvSpPr/>
          <p:nvPr userDrawn="1"/>
        </p:nvSpPr>
        <p:spPr>
          <a:xfrm>
            <a:off x="0" y="1948264"/>
            <a:ext cx="4005697" cy="2961481"/>
          </a:xfrm>
          <a:prstGeom prst="rect">
            <a:avLst/>
          </a:prstGeom>
          <a:solidFill>
            <a:schemeClr val="accent3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16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341BD50-63DA-4EA1-A19E-A03512B2FDE6}"/>
              </a:ext>
            </a:extLst>
          </p:cNvPr>
          <p:cNvSpPr txBox="1"/>
          <p:nvPr userDrawn="1"/>
        </p:nvSpPr>
        <p:spPr>
          <a:xfrm>
            <a:off x="8632618" y="6403760"/>
            <a:ext cx="255093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b="1" spc="32" baseline="0" dirty="0">
                <a:solidFill>
                  <a:schemeClr val="bg1"/>
                </a:solidFill>
                <a:latin typeface="+mj-lt"/>
              </a:rPr>
              <a:t>CONFIDENTIAL </a:t>
            </a:r>
            <a:r>
              <a:rPr lang="en-US" sz="800" spc="300" dirty="0">
                <a:solidFill>
                  <a:schemeClr val="bg1"/>
                </a:solidFill>
                <a:latin typeface="+mj-lt"/>
              </a:rPr>
              <a:t>|</a:t>
            </a:r>
            <a:r>
              <a:rPr lang="en-US" sz="800" b="1" spc="32" baseline="0" dirty="0">
                <a:solidFill>
                  <a:schemeClr val="bg1"/>
                </a:solidFill>
                <a:latin typeface="+mj-lt"/>
              </a:rPr>
              <a:t>NOT FOR DISTRIBUTION 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0A586072-841D-44D9-825D-6BC4D20BEB0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87220" y="6241905"/>
            <a:ext cx="600069" cy="454616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3427479-A929-4A98-A2DC-A34D3BF6134D}"/>
              </a:ext>
            </a:extLst>
          </p:cNvPr>
          <p:cNvCxnSpPr>
            <a:cxnSpLocks/>
          </p:cNvCxnSpPr>
          <p:nvPr userDrawn="1"/>
        </p:nvCxnSpPr>
        <p:spPr>
          <a:xfrm>
            <a:off x="1105060" y="6460910"/>
            <a:ext cx="807704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B39B82E2-97CF-48FC-B847-78E014D67353}"/>
              </a:ext>
            </a:extLst>
          </p:cNvPr>
          <p:cNvSpPr/>
          <p:nvPr userDrawn="1"/>
        </p:nvSpPr>
        <p:spPr>
          <a:xfrm>
            <a:off x="4082143" y="1948263"/>
            <a:ext cx="163286" cy="2961481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rtlCol="0" anchor="ctr" anchorCtr="0">
            <a:noAutofit/>
          </a:bodyPr>
          <a:lstStyle/>
          <a:p>
            <a:pPr algn="ctr" defTabSz="1466850" fontAlgn="auto">
              <a:lnSpc>
                <a:spcPct val="90000"/>
              </a:lnSpc>
              <a:spcAft>
                <a:spcPts val="0"/>
              </a:spcAft>
            </a:pPr>
            <a:endParaRPr lang="en-US" sz="1000" dirty="0" err="1">
              <a:solidFill>
                <a:prstClr val="white"/>
              </a:solidFill>
              <a:latin typeface="Calibri Light" panose="020F030202020403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B41E4B4-070D-4D5B-89CD-89CC128DF601}"/>
              </a:ext>
            </a:extLst>
          </p:cNvPr>
          <p:cNvCxnSpPr/>
          <p:nvPr userDrawn="1"/>
        </p:nvCxnSpPr>
        <p:spPr>
          <a:xfrm>
            <a:off x="381001" y="2239877"/>
            <a:ext cx="990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A17EB0B4-E43C-434E-9007-18EE15A55B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2" y="2353721"/>
            <a:ext cx="3624694" cy="100027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600" b="1" cap="all" spc="54" baseline="0">
                <a:solidFill>
                  <a:schemeClr val="bg1"/>
                </a:solidFill>
                <a:latin typeface="+mj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B9A19B6-F1B2-4A9D-82B2-9F0DB7CF6C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0634" y="3467837"/>
            <a:ext cx="3615061" cy="46068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300"/>
              </a:lnSpc>
              <a:spcBef>
                <a:spcPts val="0"/>
              </a:spcBef>
              <a:buNone/>
              <a:defRPr sz="1200" b="0" cap="none" spc="0" baseline="0">
                <a:solidFill>
                  <a:schemeClr val="bg1"/>
                </a:solidFill>
                <a:latin typeface="+mj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43F00EB-7CC8-478E-9F40-27F4AF2A74B5}"/>
              </a:ext>
            </a:extLst>
          </p:cNvPr>
          <p:cNvSpPr/>
          <p:nvPr userDrawn="1"/>
        </p:nvSpPr>
        <p:spPr>
          <a:xfrm>
            <a:off x="-1" y="3734492"/>
            <a:ext cx="4005696" cy="1175253"/>
          </a:xfrm>
          <a:prstGeom prst="rect">
            <a:avLst/>
          </a:prstGeom>
          <a:blipFill dpi="0" rotWithShape="1">
            <a:blip r:embed="rId8"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rtlCol="0" anchor="ctr" anchorCtr="0">
            <a:noAutofit/>
          </a:bodyPr>
          <a:lstStyle/>
          <a:p>
            <a:pPr algn="ctr" defTabSz="1466850" fontAlgn="auto">
              <a:lnSpc>
                <a:spcPct val="90000"/>
              </a:lnSpc>
              <a:spcAft>
                <a:spcPts val="0"/>
              </a:spcAft>
            </a:pPr>
            <a:endParaRPr lang="en-US" sz="1000" dirty="0" err="1">
              <a:solidFill>
                <a:prstClr val="white"/>
              </a:solidFill>
              <a:latin typeface="Calibri Light" panose="020F03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7B549D9-0A8D-44F3-82E2-F9D4AA6D5B46}"/>
              </a:ext>
            </a:extLst>
          </p:cNvPr>
          <p:cNvSpPr txBox="1"/>
          <p:nvPr userDrawn="1"/>
        </p:nvSpPr>
        <p:spPr>
          <a:xfrm>
            <a:off x="11422166" y="6403760"/>
            <a:ext cx="22424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27692F5A-FC14-4E83-B4CC-18F6C2D780A4}" type="slidenum">
              <a:rPr lang="en-US" sz="800" b="0" spc="32" baseline="0" smtClean="0">
                <a:solidFill>
                  <a:schemeClr val="bg1"/>
                </a:solidFill>
                <a:latin typeface="+mn-lt"/>
              </a:rPr>
              <a:pPr algn="ctr"/>
              <a:t>‹#›</a:t>
            </a:fld>
            <a:endParaRPr lang="en-US" sz="800" b="0" spc="32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Freeform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6B6CE82D-612F-48AA-9841-0A647CD4F2A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646408" y="6384969"/>
            <a:ext cx="164592" cy="164592"/>
          </a:xfrm>
          <a:custGeom>
            <a:avLst/>
            <a:gdLst>
              <a:gd name="T0" fmla="*/ 883 w 2350"/>
              <a:gd name="T1" fmla="*/ 679 h 2350"/>
              <a:gd name="T2" fmla="*/ 1338 w 2350"/>
              <a:gd name="T3" fmla="*/ 1175 h 2350"/>
              <a:gd name="T4" fmla="*/ 883 w 2350"/>
              <a:gd name="T5" fmla="*/ 1671 h 2350"/>
              <a:gd name="T6" fmla="*/ 883 w 2350"/>
              <a:gd name="T7" fmla="*/ 1813 h 2350"/>
              <a:gd name="T8" fmla="*/ 1023 w 2350"/>
              <a:gd name="T9" fmla="*/ 1813 h 2350"/>
              <a:gd name="T10" fmla="*/ 1579 w 2350"/>
              <a:gd name="T11" fmla="*/ 1246 h 2350"/>
              <a:gd name="T12" fmla="*/ 1579 w 2350"/>
              <a:gd name="T13" fmla="*/ 1104 h 2350"/>
              <a:gd name="T14" fmla="*/ 1023 w 2350"/>
              <a:gd name="T15" fmla="*/ 537 h 2350"/>
              <a:gd name="T16" fmla="*/ 883 w 2350"/>
              <a:gd name="T17" fmla="*/ 537 h 2350"/>
              <a:gd name="T18" fmla="*/ 883 w 2350"/>
              <a:gd name="T19" fmla="*/ 679 h 2350"/>
              <a:gd name="T20" fmla="*/ 0 w 2350"/>
              <a:gd name="T21" fmla="*/ 1175 h 2350"/>
              <a:gd name="T22" fmla="*/ 1175 w 2350"/>
              <a:gd name="T23" fmla="*/ 2350 h 2350"/>
              <a:gd name="T24" fmla="*/ 2350 w 2350"/>
              <a:gd name="T25" fmla="*/ 1175 h 2350"/>
              <a:gd name="T26" fmla="*/ 1175 w 2350"/>
              <a:gd name="T27" fmla="*/ 0 h 2350"/>
              <a:gd name="T28" fmla="*/ 0 w 2350"/>
              <a:gd name="T29" fmla="*/ 1175 h 2350"/>
              <a:gd name="T30" fmla="*/ 2198 w 2350"/>
              <a:gd name="T31" fmla="*/ 1175 h 2350"/>
              <a:gd name="T32" fmla="*/ 1175 w 2350"/>
              <a:gd name="T33" fmla="*/ 2198 h 2350"/>
              <a:gd name="T34" fmla="*/ 152 w 2350"/>
              <a:gd name="T35" fmla="*/ 1175 h 2350"/>
              <a:gd name="T36" fmla="*/ 1175 w 2350"/>
              <a:gd name="T37" fmla="*/ 152 h 2350"/>
              <a:gd name="T38" fmla="*/ 2198 w 2350"/>
              <a:gd name="T39" fmla="*/ 1175 h 2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50" h="235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/>
          </a:p>
        </p:txBody>
      </p:sp>
      <p:sp>
        <p:nvSpPr>
          <p:cNvPr id="26" name="Freeform 5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5C05E36A-FB87-4913-9ECC-D24E672A79F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257574" y="6384969"/>
            <a:ext cx="164592" cy="164592"/>
          </a:xfrm>
          <a:custGeom>
            <a:avLst/>
            <a:gdLst>
              <a:gd name="T0" fmla="*/ 1467 w 2350"/>
              <a:gd name="T1" fmla="*/ 1671 h 2350"/>
              <a:gd name="T2" fmla="*/ 1012 w 2350"/>
              <a:gd name="T3" fmla="*/ 1175 h 2350"/>
              <a:gd name="T4" fmla="*/ 1467 w 2350"/>
              <a:gd name="T5" fmla="*/ 679 h 2350"/>
              <a:gd name="T6" fmla="*/ 1467 w 2350"/>
              <a:gd name="T7" fmla="*/ 537 h 2350"/>
              <a:gd name="T8" fmla="*/ 1327 w 2350"/>
              <a:gd name="T9" fmla="*/ 537 h 2350"/>
              <a:gd name="T10" fmla="*/ 771 w 2350"/>
              <a:gd name="T11" fmla="*/ 1104 h 2350"/>
              <a:gd name="T12" fmla="*/ 771 w 2350"/>
              <a:gd name="T13" fmla="*/ 1246 h 2350"/>
              <a:gd name="T14" fmla="*/ 1327 w 2350"/>
              <a:gd name="T15" fmla="*/ 1813 h 2350"/>
              <a:gd name="T16" fmla="*/ 1467 w 2350"/>
              <a:gd name="T17" fmla="*/ 1813 h 2350"/>
              <a:gd name="T18" fmla="*/ 1467 w 2350"/>
              <a:gd name="T19" fmla="*/ 1671 h 2350"/>
              <a:gd name="T20" fmla="*/ 2350 w 2350"/>
              <a:gd name="T21" fmla="*/ 1175 h 2350"/>
              <a:gd name="T22" fmla="*/ 1175 w 2350"/>
              <a:gd name="T23" fmla="*/ 0 h 2350"/>
              <a:gd name="T24" fmla="*/ 0 w 2350"/>
              <a:gd name="T25" fmla="*/ 1175 h 2350"/>
              <a:gd name="T26" fmla="*/ 1175 w 2350"/>
              <a:gd name="T27" fmla="*/ 2350 h 2350"/>
              <a:gd name="T28" fmla="*/ 2350 w 2350"/>
              <a:gd name="T29" fmla="*/ 1175 h 2350"/>
              <a:gd name="T30" fmla="*/ 152 w 2350"/>
              <a:gd name="T31" fmla="*/ 1175 h 2350"/>
              <a:gd name="T32" fmla="*/ 1175 w 2350"/>
              <a:gd name="T33" fmla="*/ 152 h 2350"/>
              <a:gd name="T34" fmla="*/ 2198 w 2350"/>
              <a:gd name="T35" fmla="*/ 1175 h 2350"/>
              <a:gd name="T36" fmla="*/ 1175 w 2350"/>
              <a:gd name="T37" fmla="*/ 2198 h 2350"/>
              <a:gd name="T38" fmla="*/ 152 w 2350"/>
              <a:gd name="T39" fmla="*/ 1175 h 2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50" h="235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561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741ABD67-6251-4B88-8513-316BE5EFE3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4343" y="2895597"/>
            <a:ext cx="11416657" cy="56675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600" b="1" cap="all" spc="54" baseline="0">
                <a:solidFill>
                  <a:schemeClr val="bg1"/>
                </a:solidFill>
                <a:latin typeface="+mj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62CF55FE-439D-460E-9D77-07A0022A2A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4343" y="3594665"/>
            <a:ext cx="11416657" cy="236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 cap="all" spc="54" baseline="0">
                <a:solidFill>
                  <a:schemeClr val="bg1"/>
                </a:solidFill>
                <a:latin typeface="+mj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A2364B9-22D9-421A-AB35-D5500678D431}"/>
              </a:ext>
            </a:extLst>
          </p:cNvPr>
          <p:cNvGrpSpPr/>
          <p:nvPr userDrawn="1"/>
        </p:nvGrpSpPr>
        <p:grpSpPr>
          <a:xfrm>
            <a:off x="394344" y="4134780"/>
            <a:ext cx="163381" cy="163381"/>
            <a:chOff x="685909" y="4075113"/>
            <a:chExt cx="150813" cy="150813"/>
          </a:xfrm>
        </p:grpSpPr>
        <p:sp>
          <p:nvSpPr>
            <p:cNvPr id="7" name="Oval 1125">
              <a:extLst>
                <a:ext uri="{FF2B5EF4-FFF2-40B4-BE49-F238E27FC236}">
                  <a16:creationId xmlns:a16="http://schemas.microsoft.com/office/drawing/2014/main" id="{13E8F052-6CE2-4574-80A7-7B0DA1D99A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909" y="4075113"/>
              <a:ext cx="150813" cy="15081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endParaRPr lang="en-US" sz="1716">
                <a:latin typeface="Microsoft Sans Serif" charset="0"/>
                <a:ea typeface="Microsoft Sans Serif" charset="0"/>
                <a:cs typeface="Microsoft Sans Serif" charset="0"/>
              </a:endParaRPr>
            </a:p>
          </p:txBody>
        </p:sp>
        <p:sp>
          <p:nvSpPr>
            <p:cNvPr id="8" name="Freeform 1126">
              <a:extLst>
                <a:ext uri="{FF2B5EF4-FFF2-40B4-BE49-F238E27FC236}">
                  <a16:creationId xmlns:a16="http://schemas.microsoft.com/office/drawing/2014/main" id="{0A4D9968-F6AE-40E3-8D27-3B750AF47A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3534" y="4102100"/>
              <a:ext cx="55563" cy="98425"/>
            </a:xfrm>
            <a:custGeom>
              <a:avLst/>
              <a:gdLst>
                <a:gd name="T0" fmla="*/ 0 w 23"/>
                <a:gd name="T1" fmla="*/ 11 h 41"/>
                <a:gd name="T2" fmla="*/ 3 w 23"/>
                <a:gd name="T3" fmla="*/ 3 h 41"/>
                <a:gd name="T4" fmla="*/ 12 w 23"/>
                <a:gd name="T5" fmla="*/ 0 h 41"/>
                <a:gd name="T6" fmla="*/ 20 w 23"/>
                <a:gd name="T7" fmla="*/ 3 h 41"/>
                <a:gd name="T8" fmla="*/ 23 w 23"/>
                <a:gd name="T9" fmla="*/ 11 h 41"/>
                <a:gd name="T10" fmla="*/ 22 w 23"/>
                <a:gd name="T11" fmla="*/ 16 h 41"/>
                <a:gd name="T12" fmla="*/ 12 w 23"/>
                <a:gd name="T13" fmla="*/ 41 h 41"/>
                <a:gd name="T14" fmla="*/ 1 w 23"/>
                <a:gd name="T15" fmla="*/ 16 h 41"/>
                <a:gd name="T16" fmla="*/ 0 w 23"/>
                <a:gd name="T17" fmla="*/ 14 h 41"/>
                <a:gd name="T18" fmla="*/ 0 w 23"/>
                <a:gd name="T19" fmla="*/ 11 h 41"/>
                <a:gd name="T20" fmla="*/ 7 w 23"/>
                <a:gd name="T21" fmla="*/ 7 h 41"/>
                <a:gd name="T22" fmla="*/ 6 w 23"/>
                <a:gd name="T23" fmla="*/ 11 h 41"/>
                <a:gd name="T24" fmla="*/ 7 w 23"/>
                <a:gd name="T25" fmla="*/ 15 h 41"/>
                <a:gd name="T26" fmla="*/ 12 w 23"/>
                <a:gd name="T27" fmla="*/ 17 h 41"/>
                <a:gd name="T28" fmla="*/ 16 w 23"/>
                <a:gd name="T29" fmla="*/ 15 h 41"/>
                <a:gd name="T30" fmla="*/ 17 w 23"/>
                <a:gd name="T31" fmla="*/ 11 h 41"/>
                <a:gd name="T32" fmla="*/ 16 w 23"/>
                <a:gd name="T33" fmla="*/ 7 h 41"/>
                <a:gd name="T34" fmla="*/ 12 w 23"/>
                <a:gd name="T35" fmla="*/ 5 h 41"/>
                <a:gd name="T36" fmla="*/ 7 w 23"/>
                <a:gd name="T37" fmla="*/ 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41">
                  <a:moveTo>
                    <a:pt x="0" y="11"/>
                  </a:move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8" y="0"/>
                    <a:pt x="12" y="0"/>
                  </a:cubicBezTo>
                  <a:cubicBezTo>
                    <a:pt x="15" y="0"/>
                    <a:pt x="17" y="1"/>
                    <a:pt x="20" y="3"/>
                  </a:cubicBezTo>
                  <a:cubicBezTo>
                    <a:pt x="22" y="5"/>
                    <a:pt x="23" y="8"/>
                    <a:pt x="23" y="11"/>
                  </a:cubicBezTo>
                  <a:cubicBezTo>
                    <a:pt x="23" y="13"/>
                    <a:pt x="23" y="14"/>
                    <a:pt x="22" y="16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5"/>
                    <a:pt x="0" y="14"/>
                    <a:pt x="0" y="14"/>
                  </a:cubicBezTo>
                  <a:cubicBezTo>
                    <a:pt x="0" y="13"/>
                    <a:pt x="0" y="12"/>
                    <a:pt x="0" y="11"/>
                  </a:cubicBezTo>
                  <a:close/>
                  <a:moveTo>
                    <a:pt x="7" y="7"/>
                  </a:moveTo>
                  <a:cubicBezTo>
                    <a:pt x="6" y="8"/>
                    <a:pt x="6" y="10"/>
                    <a:pt x="6" y="11"/>
                  </a:cubicBezTo>
                  <a:cubicBezTo>
                    <a:pt x="6" y="13"/>
                    <a:pt x="6" y="14"/>
                    <a:pt x="7" y="15"/>
                  </a:cubicBezTo>
                  <a:cubicBezTo>
                    <a:pt x="9" y="16"/>
                    <a:pt x="10" y="17"/>
                    <a:pt x="12" y="17"/>
                  </a:cubicBezTo>
                  <a:cubicBezTo>
                    <a:pt x="13" y="17"/>
                    <a:pt x="14" y="16"/>
                    <a:pt x="16" y="15"/>
                  </a:cubicBezTo>
                  <a:cubicBezTo>
                    <a:pt x="17" y="14"/>
                    <a:pt x="17" y="13"/>
                    <a:pt x="17" y="11"/>
                  </a:cubicBezTo>
                  <a:cubicBezTo>
                    <a:pt x="17" y="10"/>
                    <a:pt x="17" y="8"/>
                    <a:pt x="16" y="7"/>
                  </a:cubicBezTo>
                  <a:cubicBezTo>
                    <a:pt x="14" y="6"/>
                    <a:pt x="13" y="5"/>
                    <a:pt x="12" y="5"/>
                  </a:cubicBezTo>
                  <a:cubicBezTo>
                    <a:pt x="10" y="5"/>
                    <a:pt x="9" y="6"/>
                    <a:pt x="7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endParaRPr lang="en-US" sz="1716">
                <a:latin typeface="Microsoft Sans Serif" charset="0"/>
                <a:ea typeface="Microsoft Sans Serif" charset="0"/>
                <a:cs typeface="Microsoft Sans Serif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CF0BB90F-EB65-4C81-AC17-E8A0C198FEAC}"/>
              </a:ext>
            </a:extLst>
          </p:cNvPr>
          <p:cNvSpPr txBox="1"/>
          <p:nvPr userDrawn="1"/>
        </p:nvSpPr>
        <p:spPr>
          <a:xfrm>
            <a:off x="655405" y="4149800"/>
            <a:ext cx="2183388" cy="133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67" dirty="0">
                <a:solidFill>
                  <a:schemeClr val="bg1"/>
                </a:solidFill>
                <a:latin typeface="Microsoft Sans Serif" charset="0"/>
                <a:ea typeface="Microsoft Sans Serif" charset="0"/>
                <a:cs typeface="Microsoft Sans Serif" charset="0"/>
              </a:rPr>
              <a:t>1415 N. Cherry Avenue, Chicago, IL, USA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F842EC5-C8A5-4490-ACD5-C473073A9C77}"/>
              </a:ext>
            </a:extLst>
          </p:cNvPr>
          <p:cNvGrpSpPr/>
          <p:nvPr userDrawn="1"/>
        </p:nvGrpSpPr>
        <p:grpSpPr>
          <a:xfrm>
            <a:off x="394344" y="4385996"/>
            <a:ext cx="163381" cy="163381"/>
            <a:chOff x="685909" y="4273550"/>
            <a:chExt cx="150813" cy="150813"/>
          </a:xfrm>
        </p:grpSpPr>
        <p:sp>
          <p:nvSpPr>
            <p:cNvPr id="11" name="Oval 1127">
              <a:extLst>
                <a:ext uri="{FF2B5EF4-FFF2-40B4-BE49-F238E27FC236}">
                  <a16:creationId xmlns:a16="http://schemas.microsoft.com/office/drawing/2014/main" id="{85A6E9E0-646B-451B-A094-EEF283244E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909" y="4273550"/>
              <a:ext cx="150813" cy="15081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endParaRPr lang="en-US" sz="1716" dirty="0">
                <a:latin typeface="Microsoft Sans Serif" charset="0"/>
                <a:ea typeface="Microsoft Sans Serif" charset="0"/>
                <a:cs typeface="Microsoft Sans Serif" charset="0"/>
              </a:endParaRPr>
            </a:p>
          </p:txBody>
        </p:sp>
        <p:sp>
          <p:nvSpPr>
            <p:cNvPr id="12" name="Freeform 1130">
              <a:extLst>
                <a:ext uri="{FF2B5EF4-FFF2-40B4-BE49-F238E27FC236}">
                  <a16:creationId xmlns:a16="http://schemas.microsoft.com/office/drawing/2014/main" id="{D826B0F7-F385-46C3-8264-D841977B6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484" y="4302125"/>
              <a:ext cx="90488" cy="92075"/>
            </a:xfrm>
            <a:custGeom>
              <a:avLst/>
              <a:gdLst>
                <a:gd name="T0" fmla="*/ 22 w 38"/>
                <a:gd name="T1" fmla="*/ 22 h 38"/>
                <a:gd name="T2" fmla="*/ 13 w 38"/>
                <a:gd name="T3" fmla="*/ 27 h 38"/>
                <a:gd name="T4" fmla="*/ 5 w 38"/>
                <a:gd name="T5" fmla="*/ 27 h 38"/>
                <a:gd name="T6" fmla="*/ 6 w 38"/>
                <a:gd name="T7" fmla="*/ 36 h 38"/>
                <a:gd name="T8" fmla="*/ 27 w 38"/>
                <a:gd name="T9" fmla="*/ 27 h 38"/>
                <a:gd name="T10" fmla="*/ 36 w 38"/>
                <a:gd name="T11" fmla="*/ 6 h 38"/>
                <a:gd name="T12" fmla="*/ 27 w 38"/>
                <a:gd name="T13" fmla="*/ 5 h 38"/>
                <a:gd name="T14" fmla="*/ 27 w 38"/>
                <a:gd name="T15" fmla="*/ 13 h 38"/>
                <a:gd name="T16" fmla="*/ 22 w 38"/>
                <a:gd name="T17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38">
                  <a:moveTo>
                    <a:pt x="22" y="22"/>
                  </a:moveTo>
                  <a:cubicBezTo>
                    <a:pt x="19" y="26"/>
                    <a:pt x="15" y="29"/>
                    <a:pt x="13" y="27"/>
                  </a:cubicBezTo>
                  <a:cubicBezTo>
                    <a:pt x="11" y="25"/>
                    <a:pt x="10" y="23"/>
                    <a:pt x="5" y="27"/>
                  </a:cubicBezTo>
                  <a:cubicBezTo>
                    <a:pt x="0" y="31"/>
                    <a:pt x="4" y="34"/>
                    <a:pt x="6" y="36"/>
                  </a:cubicBezTo>
                  <a:cubicBezTo>
                    <a:pt x="8" y="38"/>
                    <a:pt x="18" y="36"/>
                    <a:pt x="27" y="27"/>
                  </a:cubicBezTo>
                  <a:cubicBezTo>
                    <a:pt x="36" y="18"/>
                    <a:pt x="38" y="8"/>
                    <a:pt x="36" y="6"/>
                  </a:cubicBezTo>
                  <a:cubicBezTo>
                    <a:pt x="33" y="4"/>
                    <a:pt x="31" y="0"/>
                    <a:pt x="27" y="5"/>
                  </a:cubicBezTo>
                  <a:cubicBezTo>
                    <a:pt x="23" y="10"/>
                    <a:pt x="25" y="11"/>
                    <a:pt x="27" y="13"/>
                  </a:cubicBezTo>
                  <a:cubicBezTo>
                    <a:pt x="29" y="15"/>
                    <a:pt x="25" y="19"/>
                    <a:pt x="22" y="2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endParaRPr lang="en-US" sz="1716">
                <a:latin typeface="Microsoft Sans Serif" charset="0"/>
                <a:ea typeface="Microsoft Sans Serif" charset="0"/>
                <a:cs typeface="Microsoft Sans Serif" charset="0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12DFE76B-E213-4989-8931-B733553BC8F8}"/>
              </a:ext>
            </a:extLst>
          </p:cNvPr>
          <p:cNvSpPr txBox="1"/>
          <p:nvPr userDrawn="1"/>
        </p:nvSpPr>
        <p:spPr>
          <a:xfrm>
            <a:off x="655405" y="4399296"/>
            <a:ext cx="1783766" cy="133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67" dirty="0">
                <a:solidFill>
                  <a:schemeClr val="bg1"/>
                </a:solidFill>
                <a:latin typeface="Microsoft Sans Serif" charset="0"/>
                <a:ea typeface="Microsoft Sans Serif" charset="0"/>
                <a:cs typeface="Microsoft Sans Serif" charset="0"/>
              </a:rPr>
              <a:t>(312) 281-6900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FB87C4E-6F16-441E-8BBA-CDA81427AF80}"/>
              </a:ext>
            </a:extLst>
          </p:cNvPr>
          <p:cNvGrpSpPr/>
          <p:nvPr userDrawn="1"/>
        </p:nvGrpSpPr>
        <p:grpSpPr>
          <a:xfrm>
            <a:off x="394344" y="4668047"/>
            <a:ext cx="163381" cy="163381"/>
            <a:chOff x="3395432" y="4273550"/>
            <a:chExt cx="150813" cy="150813"/>
          </a:xfrm>
        </p:grpSpPr>
        <p:sp>
          <p:nvSpPr>
            <p:cNvPr id="15" name="Oval 1132">
              <a:extLst>
                <a:ext uri="{FF2B5EF4-FFF2-40B4-BE49-F238E27FC236}">
                  <a16:creationId xmlns:a16="http://schemas.microsoft.com/office/drawing/2014/main" id="{55999C9D-E1B7-4C94-B8E3-690962A257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5432" y="4273550"/>
              <a:ext cx="150813" cy="15081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endParaRPr lang="en-US" sz="1716">
                <a:latin typeface="Microsoft Sans Serif" charset="0"/>
                <a:ea typeface="Microsoft Sans Serif" charset="0"/>
                <a:cs typeface="Microsoft Sans Serif" charset="0"/>
              </a:endParaRPr>
            </a:p>
          </p:txBody>
        </p:sp>
        <p:sp>
          <p:nvSpPr>
            <p:cNvPr id="16" name="Freeform 1135">
              <a:extLst>
                <a:ext uri="{FF2B5EF4-FFF2-40B4-BE49-F238E27FC236}">
                  <a16:creationId xmlns:a16="http://schemas.microsoft.com/office/drawing/2014/main" id="{3E98322D-4638-425A-A709-E5F613BC2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69" y="4316413"/>
              <a:ext cx="84138" cy="68263"/>
            </a:xfrm>
            <a:custGeom>
              <a:avLst/>
              <a:gdLst>
                <a:gd name="T0" fmla="*/ 31 w 35"/>
                <a:gd name="T1" fmla="*/ 7 h 28"/>
                <a:gd name="T2" fmla="*/ 31 w 35"/>
                <a:gd name="T3" fmla="*/ 8 h 28"/>
                <a:gd name="T4" fmla="*/ 11 w 35"/>
                <a:gd name="T5" fmla="*/ 28 h 28"/>
                <a:gd name="T6" fmla="*/ 0 w 35"/>
                <a:gd name="T7" fmla="*/ 24 h 28"/>
                <a:gd name="T8" fmla="*/ 2 w 35"/>
                <a:gd name="T9" fmla="*/ 24 h 28"/>
                <a:gd name="T10" fmla="*/ 11 w 35"/>
                <a:gd name="T11" fmla="*/ 21 h 28"/>
                <a:gd name="T12" fmla="*/ 4 w 35"/>
                <a:gd name="T13" fmla="*/ 17 h 28"/>
                <a:gd name="T14" fmla="*/ 6 w 35"/>
                <a:gd name="T15" fmla="*/ 17 h 28"/>
                <a:gd name="T16" fmla="*/ 7 w 35"/>
                <a:gd name="T17" fmla="*/ 16 h 28"/>
                <a:gd name="T18" fmla="*/ 2 w 35"/>
                <a:gd name="T19" fmla="*/ 10 h 28"/>
                <a:gd name="T20" fmla="*/ 2 w 35"/>
                <a:gd name="T21" fmla="*/ 9 h 28"/>
                <a:gd name="T22" fmla="*/ 5 w 35"/>
                <a:gd name="T23" fmla="*/ 10 h 28"/>
                <a:gd name="T24" fmla="*/ 2 w 35"/>
                <a:gd name="T25" fmla="*/ 4 h 28"/>
                <a:gd name="T26" fmla="*/ 3 w 35"/>
                <a:gd name="T27" fmla="*/ 1 h 28"/>
                <a:gd name="T28" fmla="*/ 17 w 35"/>
                <a:gd name="T29" fmla="*/ 8 h 28"/>
                <a:gd name="T30" fmla="*/ 17 w 35"/>
                <a:gd name="T31" fmla="*/ 7 h 28"/>
                <a:gd name="T32" fmla="*/ 24 w 35"/>
                <a:gd name="T33" fmla="*/ 0 h 28"/>
                <a:gd name="T34" fmla="*/ 29 w 35"/>
                <a:gd name="T35" fmla="*/ 2 h 28"/>
                <a:gd name="T36" fmla="*/ 34 w 35"/>
                <a:gd name="T37" fmla="*/ 0 h 28"/>
                <a:gd name="T38" fmla="*/ 31 w 35"/>
                <a:gd name="T39" fmla="*/ 4 h 28"/>
                <a:gd name="T40" fmla="*/ 35 w 35"/>
                <a:gd name="T41" fmla="*/ 3 h 28"/>
                <a:gd name="T42" fmla="*/ 31 w 35"/>
                <a:gd name="T43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" h="28">
                  <a:moveTo>
                    <a:pt x="31" y="7"/>
                  </a:moveTo>
                  <a:cubicBezTo>
                    <a:pt x="31" y="8"/>
                    <a:pt x="31" y="8"/>
                    <a:pt x="31" y="8"/>
                  </a:cubicBezTo>
                  <a:cubicBezTo>
                    <a:pt x="31" y="17"/>
                    <a:pt x="24" y="28"/>
                    <a:pt x="11" y="28"/>
                  </a:cubicBezTo>
                  <a:cubicBezTo>
                    <a:pt x="7" y="28"/>
                    <a:pt x="3" y="26"/>
                    <a:pt x="0" y="24"/>
                  </a:cubicBezTo>
                  <a:cubicBezTo>
                    <a:pt x="1" y="24"/>
                    <a:pt x="1" y="24"/>
                    <a:pt x="2" y="24"/>
                  </a:cubicBezTo>
                  <a:cubicBezTo>
                    <a:pt x="5" y="24"/>
                    <a:pt x="8" y="23"/>
                    <a:pt x="11" y="21"/>
                  </a:cubicBezTo>
                  <a:cubicBezTo>
                    <a:pt x="8" y="21"/>
                    <a:pt x="5" y="19"/>
                    <a:pt x="4" y="17"/>
                  </a:cubicBezTo>
                  <a:cubicBezTo>
                    <a:pt x="5" y="17"/>
                    <a:pt x="5" y="17"/>
                    <a:pt x="6" y="17"/>
                  </a:cubicBezTo>
                  <a:cubicBezTo>
                    <a:pt x="6" y="17"/>
                    <a:pt x="7" y="17"/>
                    <a:pt x="7" y="16"/>
                  </a:cubicBezTo>
                  <a:cubicBezTo>
                    <a:pt x="4" y="16"/>
                    <a:pt x="2" y="13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10"/>
                    <a:pt x="4" y="10"/>
                    <a:pt x="5" y="10"/>
                  </a:cubicBezTo>
                  <a:cubicBezTo>
                    <a:pt x="3" y="9"/>
                    <a:pt x="2" y="7"/>
                    <a:pt x="2" y="4"/>
                  </a:cubicBezTo>
                  <a:cubicBezTo>
                    <a:pt x="2" y="3"/>
                    <a:pt x="2" y="2"/>
                    <a:pt x="3" y="1"/>
                  </a:cubicBezTo>
                  <a:cubicBezTo>
                    <a:pt x="6" y="5"/>
                    <a:pt x="11" y="8"/>
                    <a:pt x="17" y="8"/>
                  </a:cubicBezTo>
                  <a:cubicBezTo>
                    <a:pt x="17" y="8"/>
                    <a:pt x="17" y="7"/>
                    <a:pt x="17" y="7"/>
                  </a:cubicBezTo>
                  <a:cubicBezTo>
                    <a:pt x="17" y="3"/>
                    <a:pt x="20" y="0"/>
                    <a:pt x="24" y="0"/>
                  </a:cubicBezTo>
                  <a:cubicBezTo>
                    <a:pt x="26" y="0"/>
                    <a:pt x="28" y="1"/>
                    <a:pt x="29" y="2"/>
                  </a:cubicBezTo>
                  <a:cubicBezTo>
                    <a:pt x="31" y="2"/>
                    <a:pt x="32" y="1"/>
                    <a:pt x="34" y="0"/>
                  </a:cubicBezTo>
                  <a:cubicBezTo>
                    <a:pt x="33" y="2"/>
                    <a:pt x="32" y="3"/>
                    <a:pt x="31" y="4"/>
                  </a:cubicBezTo>
                  <a:cubicBezTo>
                    <a:pt x="32" y="4"/>
                    <a:pt x="33" y="4"/>
                    <a:pt x="35" y="3"/>
                  </a:cubicBezTo>
                  <a:cubicBezTo>
                    <a:pt x="34" y="4"/>
                    <a:pt x="33" y="6"/>
                    <a:pt x="31" y="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endParaRPr lang="en-US" sz="1716">
                <a:latin typeface="Microsoft Sans Serif" charset="0"/>
                <a:ea typeface="Microsoft Sans Serif" charset="0"/>
                <a:cs typeface="Microsoft Sans Serif" charset="0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2634A5E3-2A44-41F6-BD89-2D552D25A0F8}"/>
              </a:ext>
            </a:extLst>
          </p:cNvPr>
          <p:cNvSpPr txBox="1"/>
          <p:nvPr userDrawn="1"/>
        </p:nvSpPr>
        <p:spPr>
          <a:xfrm>
            <a:off x="654718" y="4681347"/>
            <a:ext cx="1783766" cy="133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67" dirty="0">
                <a:solidFill>
                  <a:schemeClr val="bg1"/>
                </a:solidFill>
                <a:latin typeface="Microsoft Sans Serif" charset="0"/>
                <a:ea typeface="Microsoft Sans Serif" charset="0"/>
                <a:cs typeface="Microsoft Sans Serif" charset="0"/>
              </a:rPr>
              <a:t>@</a:t>
            </a:r>
            <a:r>
              <a:rPr lang="en-US" sz="867" dirty="0" err="1">
                <a:solidFill>
                  <a:schemeClr val="bg1"/>
                </a:solidFill>
                <a:latin typeface="Microsoft Sans Serif" charset="0"/>
                <a:ea typeface="Microsoft Sans Serif" charset="0"/>
                <a:cs typeface="Microsoft Sans Serif" charset="0"/>
              </a:rPr>
              <a:t>CityTech</a:t>
            </a:r>
            <a:r>
              <a:rPr lang="en-US" sz="867" dirty="0">
                <a:solidFill>
                  <a:schemeClr val="bg1"/>
                </a:solidFill>
                <a:latin typeface="Microsoft Sans Serif" charset="0"/>
                <a:ea typeface="Microsoft Sans Serif" charset="0"/>
                <a:cs typeface="Microsoft Sans Serif" charset="0"/>
              </a:rPr>
              <a:t>_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21C4E96-8CAE-4032-B37F-8020304B64CC}"/>
              </a:ext>
            </a:extLst>
          </p:cNvPr>
          <p:cNvCxnSpPr>
            <a:cxnSpLocks/>
          </p:cNvCxnSpPr>
          <p:nvPr userDrawn="1"/>
        </p:nvCxnSpPr>
        <p:spPr>
          <a:xfrm>
            <a:off x="1105060" y="6460910"/>
            <a:ext cx="807704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1241E865-9C35-4041-B79E-5B917741EB72}"/>
              </a:ext>
            </a:extLst>
          </p:cNvPr>
          <p:cNvSpPr txBox="1"/>
          <p:nvPr userDrawn="1"/>
        </p:nvSpPr>
        <p:spPr>
          <a:xfrm>
            <a:off x="11422166" y="6403760"/>
            <a:ext cx="22424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27692F5A-FC14-4E83-B4CC-18F6C2D780A4}" type="slidenum">
              <a:rPr lang="en-US" sz="800" b="0" spc="32" baseline="0" smtClean="0">
                <a:solidFill>
                  <a:schemeClr val="bg1"/>
                </a:solidFill>
                <a:latin typeface="+mn-lt"/>
              </a:rPr>
              <a:pPr algn="ctr"/>
              <a:t>‹#›</a:t>
            </a:fld>
            <a:endParaRPr lang="en-US" sz="800" b="0" spc="32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1" name="Freeform 5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1AA8273F-62A4-4BE7-927D-7813443F7B8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257574" y="6384969"/>
            <a:ext cx="164592" cy="164592"/>
          </a:xfrm>
          <a:custGeom>
            <a:avLst/>
            <a:gdLst>
              <a:gd name="T0" fmla="*/ 1467 w 2350"/>
              <a:gd name="T1" fmla="*/ 1671 h 2350"/>
              <a:gd name="T2" fmla="*/ 1012 w 2350"/>
              <a:gd name="T3" fmla="*/ 1175 h 2350"/>
              <a:gd name="T4" fmla="*/ 1467 w 2350"/>
              <a:gd name="T5" fmla="*/ 679 h 2350"/>
              <a:gd name="T6" fmla="*/ 1467 w 2350"/>
              <a:gd name="T7" fmla="*/ 537 h 2350"/>
              <a:gd name="T8" fmla="*/ 1327 w 2350"/>
              <a:gd name="T9" fmla="*/ 537 h 2350"/>
              <a:gd name="T10" fmla="*/ 771 w 2350"/>
              <a:gd name="T11" fmla="*/ 1104 h 2350"/>
              <a:gd name="T12" fmla="*/ 771 w 2350"/>
              <a:gd name="T13" fmla="*/ 1246 h 2350"/>
              <a:gd name="T14" fmla="*/ 1327 w 2350"/>
              <a:gd name="T15" fmla="*/ 1813 h 2350"/>
              <a:gd name="T16" fmla="*/ 1467 w 2350"/>
              <a:gd name="T17" fmla="*/ 1813 h 2350"/>
              <a:gd name="T18" fmla="*/ 1467 w 2350"/>
              <a:gd name="T19" fmla="*/ 1671 h 2350"/>
              <a:gd name="T20" fmla="*/ 2350 w 2350"/>
              <a:gd name="T21" fmla="*/ 1175 h 2350"/>
              <a:gd name="T22" fmla="*/ 1175 w 2350"/>
              <a:gd name="T23" fmla="*/ 0 h 2350"/>
              <a:gd name="T24" fmla="*/ 0 w 2350"/>
              <a:gd name="T25" fmla="*/ 1175 h 2350"/>
              <a:gd name="T26" fmla="*/ 1175 w 2350"/>
              <a:gd name="T27" fmla="*/ 2350 h 2350"/>
              <a:gd name="T28" fmla="*/ 2350 w 2350"/>
              <a:gd name="T29" fmla="*/ 1175 h 2350"/>
              <a:gd name="T30" fmla="*/ 152 w 2350"/>
              <a:gd name="T31" fmla="*/ 1175 h 2350"/>
              <a:gd name="T32" fmla="*/ 1175 w 2350"/>
              <a:gd name="T33" fmla="*/ 152 h 2350"/>
              <a:gd name="T34" fmla="*/ 2198 w 2350"/>
              <a:gd name="T35" fmla="*/ 1175 h 2350"/>
              <a:gd name="T36" fmla="*/ 1175 w 2350"/>
              <a:gd name="T37" fmla="*/ 2198 h 2350"/>
              <a:gd name="T38" fmla="*/ 152 w 2350"/>
              <a:gd name="T39" fmla="*/ 1175 h 2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50" h="235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>
              <a:solidFill>
                <a:schemeClr val="tx1"/>
              </a:solidFill>
            </a:endParaRPr>
          </a:p>
        </p:txBody>
      </p:sp>
      <p:sp>
        <p:nvSpPr>
          <p:cNvPr id="25" name="Oval 1132">
            <a:extLst>
              <a:ext uri="{FF2B5EF4-FFF2-40B4-BE49-F238E27FC236}">
                <a16:creationId xmlns:a16="http://schemas.microsoft.com/office/drawing/2014/main" id="{3ACE8904-7B3D-42BF-BBA6-11361B611E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363" y="4958232"/>
            <a:ext cx="163381" cy="16338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>
              <a:latin typeface="Microsoft Sans Serif" charset="0"/>
              <a:ea typeface="Microsoft Sans Serif" charset="0"/>
              <a:cs typeface="Microsoft Sans Serif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2EBA1C3-B188-4B49-820D-9C0ABF071BD1}"/>
              </a:ext>
            </a:extLst>
          </p:cNvPr>
          <p:cNvSpPr txBox="1"/>
          <p:nvPr userDrawn="1"/>
        </p:nvSpPr>
        <p:spPr>
          <a:xfrm>
            <a:off x="643737" y="4971532"/>
            <a:ext cx="1783766" cy="133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67" dirty="0">
                <a:solidFill>
                  <a:schemeClr val="bg1"/>
                </a:solidFill>
                <a:latin typeface="Microsoft Sans Serif" charset="0"/>
                <a:ea typeface="Microsoft Sans Serif" charset="0"/>
                <a:cs typeface="Microsoft Sans Serif" charset="0"/>
              </a:rPr>
              <a:t>citytechcollaborative.org</a:t>
            </a:r>
          </a:p>
        </p:txBody>
      </p:sp>
      <p:sp>
        <p:nvSpPr>
          <p:cNvPr id="32" name="Freeform 26">
            <a:extLst>
              <a:ext uri="{FF2B5EF4-FFF2-40B4-BE49-F238E27FC236}">
                <a16:creationId xmlns:a16="http://schemas.microsoft.com/office/drawing/2014/main" id="{E459F51F-AA80-4662-A827-1F112F6682E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05850" y="5001003"/>
            <a:ext cx="109207" cy="74492"/>
          </a:xfrm>
          <a:custGeom>
            <a:avLst/>
            <a:gdLst>
              <a:gd name="T0" fmla="*/ 20 w 228"/>
              <a:gd name="T1" fmla="*/ 125 h 156"/>
              <a:gd name="T2" fmla="*/ 20 w 228"/>
              <a:gd name="T3" fmla="*/ 10 h 156"/>
              <a:gd name="T4" fmla="*/ 24 w 228"/>
              <a:gd name="T5" fmla="*/ 3 h 156"/>
              <a:gd name="T6" fmla="*/ 31 w 228"/>
              <a:gd name="T7" fmla="*/ 0 h 156"/>
              <a:gd name="T8" fmla="*/ 197 w 228"/>
              <a:gd name="T9" fmla="*/ 0 h 156"/>
              <a:gd name="T10" fmla="*/ 204 w 228"/>
              <a:gd name="T11" fmla="*/ 3 h 156"/>
              <a:gd name="T12" fmla="*/ 207 w 228"/>
              <a:gd name="T13" fmla="*/ 10 h 156"/>
              <a:gd name="T14" fmla="*/ 207 w 228"/>
              <a:gd name="T15" fmla="*/ 125 h 156"/>
              <a:gd name="T16" fmla="*/ 228 w 228"/>
              <a:gd name="T17" fmla="*/ 145 h 156"/>
              <a:gd name="T18" fmla="*/ 225 w 228"/>
              <a:gd name="T19" fmla="*/ 153 h 156"/>
              <a:gd name="T20" fmla="*/ 218 w 228"/>
              <a:gd name="T21" fmla="*/ 156 h 156"/>
              <a:gd name="T22" fmla="*/ 10 w 228"/>
              <a:gd name="T23" fmla="*/ 156 h 156"/>
              <a:gd name="T24" fmla="*/ 2 w 228"/>
              <a:gd name="T25" fmla="*/ 153 h 156"/>
              <a:gd name="T26" fmla="*/ 0 w 228"/>
              <a:gd name="T27" fmla="*/ 145 h 156"/>
              <a:gd name="T28" fmla="*/ 20 w 228"/>
              <a:gd name="T29" fmla="*/ 125 h 156"/>
              <a:gd name="T30" fmla="*/ 31 w 228"/>
              <a:gd name="T31" fmla="*/ 125 h 156"/>
              <a:gd name="T32" fmla="*/ 197 w 228"/>
              <a:gd name="T33" fmla="*/ 125 h 156"/>
              <a:gd name="T34" fmla="*/ 197 w 228"/>
              <a:gd name="T35" fmla="*/ 10 h 156"/>
              <a:gd name="T36" fmla="*/ 31 w 228"/>
              <a:gd name="T37" fmla="*/ 10 h 156"/>
              <a:gd name="T38" fmla="*/ 31 w 228"/>
              <a:gd name="T39" fmla="*/ 125 h 156"/>
              <a:gd name="T40" fmla="*/ 85 w 228"/>
              <a:gd name="T41" fmla="*/ 144 h 156"/>
              <a:gd name="T42" fmla="*/ 88 w 228"/>
              <a:gd name="T43" fmla="*/ 145 h 156"/>
              <a:gd name="T44" fmla="*/ 140 w 228"/>
              <a:gd name="T45" fmla="*/ 145 h 156"/>
              <a:gd name="T46" fmla="*/ 143 w 228"/>
              <a:gd name="T47" fmla="*/ 144 h 156"/>
              <a:gd name="T48" fmla="*/ 143 w 228"/>
              <a:gd name="T49" fmla="*/ 144 h 156"/>
              <a:gd name="T50" fmla="*/ 136 w 228"/>
              <a:gd name="T51" fmla="*/ 137 h 156"/>
              <a:gd name="T52" fmla="*/ 132 w 228"/>
              <a:gd name="T53" fmla="*/ 136 h 156"/>
              <a:gd name="T54" fmla="*/ 95 w 228"/>
              <a:gd name="T55" fmla="*/ 136 h 156"/>
              <a:gd name="T56" fmla="*/ 92 w 228"/>
              <a:gd name="T57" fmla="*/ 137 h 156"/>
              <a:gd name="T58" fmla="*/ 85 w 228"/>
              <a:gd name="T59" fmla="*/ 144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28" h="156">
                <a:moveTo>
                  <a:pt x="20" y="125"/>
                </a:moveTo>
                <a:cubicBezTo>
                  <a:pt x="20" y="10"/>
                  <a:pt x="20" y="10"/>
                  <a:pt x="20" y="10"/>
                </a:cubicBezTo>
                <a:cubicBezTo>
                  <a:pt x="20" y="7"/>
                  <a:pt x="21" y="5"/>
                  <a:pt x="24" y="3"/>
                </a:cubicBezTo>
                <a:cubicBezTo>
                  <a:pt x="26" y="1"/>
                  <a:pt x="28" y="0"/>
                  <a:pt x="31" y="0"/>
                </a:cubicBezTo>
                <a:cubicBezTo>
                  <a:pt x="197" y="0"/>
                  <a:pt x="197" y="0"/>
                  <a:pt x="197" y="0"/>
                </a:cubicBezTo>
                <a:cubicBezTo>
                  <a:pt x="199" y="0"/>
                  <a:pt x="202" y="1"/>
                  <a:pt x="204" y="3"/>
                </a:cubicBezTo>
                <a:cubicBezTo>
                  <a:pt x="206" y="5"/>
                  <a:pt x="207" y="7"/>
                  <a:pt x="207" y="10"/>
                </a:cubicBezTo>
                <a:cubicBezTo>
                  <a:pt x="207" y="125"/>
                  <a:pt x="207" y="125"/>
                  <a:pt x="207" y="125"/>
                </a:cubicBezTo>
                <a:cubicBezTo>
                  <a:pt x="228" y="145"/>
                  <a:pt x="228" y="145"/>
                  <a:pt x="228" y="145"/>
                </a:cubicBezTo>
                <a:cubicBezTo>
                  <a:pt x="228" y="148"/>
                  <a:pt x="227" y="151"/>
                  <a:pt x="225" y="153"/>
                </a:cubicBezTo>
                <a:cubicBezTo>
                  <a:pt x="223" y="155"/>
                  <a:pt x="221" y="156"/>
                  <a:pt x="218" y="156"/>
                </a:cubicBezTo>
                <a:cubicBezTo>
                  <a:pt x="10" y="156"/>
                  <a:pt x="10" y="156"/>
                  <a:pt x="10" y="156"/>
                </a:cubicBezTo>
                <a:cubicBezTo>
                  <a:pt x="7" y="156"/>
                  <a:pt x="4" y="155"/>
                  <a:pt x="2" y="153"/>
                </a:cubicBezTo>
                <a:cubicBezTo>
                  <a:pt x="0" y="151"/>
                  <a:pt x="0" y="148"/>
                  <a:pt x="0" y="145"/>
                </a:cubicBezTo>
                <a:lnTo>
                  <a:pt x="20" y="125"/>
                </a:lnTo>
                <a:close/>
                <a:moveTo>
                  <a:pt x="31" y="125"/>
                </a:moveTo>
                <a:cubicBezTo>
                  <a:pt x="197" y="125"/>
                  <a:pt x="197" y="125"/>
                  <a:pt x="197" y="125"/>
                </a:cubicBezTo>
                <a:cubicBezTo>
                  <a:pt x="197" y="10"/>
                  <a:pt x="197" y="10"/>
                  <a:pt x="197" y="10"/>
                </a:cubicBezTo>
                <a:cubicBezTo>
                  <a:pt x="31" y="10"/>
                  <a:pt x="31" y="10"/>
                  <a:pt x="31" y="10"/>
                </a:cubicBezTo>
                <a:lnTo>
                  <a:pt x="31" y="125"/>
                </a:lnTo>
                <a:close/>
                <a:moveTo>
                  <a:pt x="85" y="144"/>
                </a:moveTo>
                <a:cubicBezTo>
                  <a:pt x="85" y="145"/>
                  <a:pt x="86" y="145"/>
                  <a:pt x="88" y="145"/>
                </a:cubicBezTo>
                <a:cubicBezTo>
                  <a:pt x="140" y="145"/>
                  <a:pt x="140" y="145"/>
                  <a:pt x="140" y="145"/>
                </a:cubicBezTo>
                <a:cubicBezTo>
                  <a:pt x="142" y="145"/>
                  <a:pt x="143" y="145"/>
                  <a:pt x="143" y="144"/>
                </a:cubicBezTo>
                <a:cubicBezTo>
                  <a:pt x="143" y="144"/>
                  <a:pt x="143" y="144"/>
                  <a:pt x="143" y="144"/>
                </a:cubicBezTo>
                <a:cubicBezTo>
                  <a:pt x="136" y="137"/>
                  <a:pt x="136" y="137"/>
                  <a:pt x="136" y="137"/>
                </a:cubicBezTo>
                <a:cubicBezTo>
                  <a:pt x="136" y="137"/>
                  <a:pt x="134" y="136"/>
                  <a:pt x="132" y="136"/>
                </a:cubicBezTo>
                <a:cubicBezTo>
                  <a:pt x="95" y="136"/>
                  <a:pt x="95" y="136"/>
                  <a:pt x="95" y="136"/>
                </a:cubicBezTo>
                <a:cubicBezTo>
                  <a:pt x="93" y="136"/>
                  <a:pt x="92" y="137"/>
                  <a:pt x="92" y="137"/>
                </a:cubicBezTo>
                <a:cubicBezTo>
                  <a:pt x="85" y="144"/>
                  <a:pt x="85" y="144"/>
                  <a:pt x="85" y="14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F764EB56-C494-4A21-85E5-6B523104FB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097" y="6251345"/>
            <a:ext cx="921667" cy="419129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4BA567D-1E06-4625-8850-B3463B7EE15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0800000" flipV="1">
            <a:off x="9406342" y="6010835"/>
            <a:ext cx="686210" cy="711277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1A9CBB23-3479-44D1-92F9-82FA0E79323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224413" y="6010835"/>
            <a:ext cx="702667" cy="714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2755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21C4E96-8CAE-4032-B37F-8020304B64CC}"/>
              </a:ext>
            </a:extLst>
          </p:cNvPr>
          <p:cNvCxnSpPr>
            <a:cxnSpLocks/>
          </p:cNvCxnSpPr>
          <p:nvPr userDrawn="1"/>
        </p:nvCxnSpPr>
        <p:spPr>
          <a:xfrm>
            <a:off x="1105060" y="6460910"/>
            <a:ext cx="807704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1241E865-9C35-4041-B79E-5B917741EB72}"/>
              </a:ext>
            </a:extLst>
          </p:cNvPr>
          <p:cNvSpPr txBox="1"/>
          <p:nvPr userDrawn="1"/>
        </p:nvSpPr>
        <p:spPr>
          <a:xfrm>
            <a:off x="11422166" y="6403760"/>
            <a:ext cx="22424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27692F5A-FC14-4E83-B4CC-18F6C2D780A4}" type="slidenum">
              <a:rPr lang="en-US" sz="800" b="0" spc="32" baseline="0" smtClean="0">
                <a:solidFill>
                  <a:schemeClr val="bg1"/>
                </a:solidFill>
                <a:latin typeface="+mn-lt"/>
              </a:rPr>
              <a:pPr algn="ctr"/>
              <a:t>‹#›</a:t>
            </a:fld>
            <a:endParaRPr lang="en-US" sz="800" b="0" spc="32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1" name="Freeform 5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1AA8273F-62A4-4BE7-927D-7813443F7B8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257574" y="6384969"/>
            <a:ext cx="164592" cy="164592"/>
          </a:xfrm>
          <a:custGeom>
            <a:avLst/>
            <a:gdLst>
              <a:gd name="T0" fmla="*/ 1467 w 2350"/>
              <a:gd name="T1" fmla="*/ 1671 h 2350"/>
              <a:gd name="T2" fmla="*/ 1012 w 2350"/>
              <a:gd name="T3" fmla="*/ 1175 h 2350"/>
              <a:gd name="T4" fmla="*/ 1467 w 2350"/>
              <a:gd name="T5" fmla="*/ 679 h 2350"/>
              <a:gd name="T6" fmla="*/ 1467 w 2350"/>
              <a:gd name="T7" fmla="*/ 537 h 2350"/>
              <a:gd name="T8" fmla="*/ 1327 w 2350"/>
              <a:gd name="T9" fmla="*/ 537 h 2350"/>
              <a:gd name="T10" fmla="*/ 771 w 2350"/>
              <a:gd name="T11" fmla="*/ 1104 h 2350"/>
              <a:gd name="T12" fmla="*/ 771 w 2350"/>
              <a:gd name="T13" fmla="*/ 1246 h 2350"/>
              <a:gd name="T14" fmla="*/ 1327 w 2350"/>
              <a:gd name="T15" fmla="*/ 1813 h 2350"/>
              <a:gd name="T16" fmla="*/ 1467 w 2350"/>
              <a:gd name="T17" fmla="*/ 1813 h 2350"/>
              <a:gd name="T18" fmla="*/ 1467 w 2350"/>
              <a:gd name="T19" fmla="*/ 1671 h 2350"/>
              <a:gd name="T20" fmla="*/ 2350 w 2350"/>
              <a:gd name="T21" fmla="*/ 1175 h 2350"/>
              <a:gd name="T22" fmla="*/ 1175 w 2350"/>
              <a:gd name="T23" fmla="*/ 0 h 2350"/>
              <a:gd name="T24" fmla="*/ 0 w 2350"/>
              <a:gd name="T25" fmla="*/ 1175 h 2350"/>
              <a:gd name="T26" fmla="*/ 1175 w 2350"/>
              <a:gd name="T27" fmla="*/ 2350 h 2350"/>
              <a:gd name="T28" fmla="*/ 2350 w 2350"/>
              <a:gd name="T29" fmla="*/ 1175 h 2350"/>
              <a:gd name="T30" fmla="*/ 152 w 2350"/>
              <a:gd name="T31" fmla="*/ 1175 h 2350"/>
              <a:gd name="T32" fmla="*/ 1175 w 2350"/>
              <a:gd name="T33" fmla="*/ 152 h 2350"/>
              <a:gd name="T34" fmla="*/ 2198 w 2350"/>
              <a:gd name="T35" fmla="*/ 1175 h 2350"/>
              <a:gd name="T36" fmla="*/ 1175 w 2350"/>
              <a:gd name="T37" fmla="*/ 2198 h 2350"/>
              <a:gd name="T38" fmla="*/ 152 w 2350"/>
              <a:gd name="T39" fmla="*/ 1175 h 2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50" h="235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>
              <a:solidFill>
                <a:schemeClr val="tx1"/>
              </a:solidFill>
            </a:endParaRPr>
          </a:p>
        </p:txBody>
      </p:sp>
      <p:sp>
        <p:nvSpPr>
          <p:cNvPr id="7" name="Freeform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4D3EB755-C6EB-4B6E-8C65-61CA29D22AA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646408" y="6384969"/>
            <a:ext cx="164592" cy="164592"/>
          </a:xfrm>
          <a:custGeom>
            <a:avLst/>
            <a:gdLst>
              <a:gd name="T0" fmla="*/ 883 w 2350"/>
              <a:gd name="T1" fmla="*/ 679 h 2350"/>
              <a:gd name="T2" fmla="*/ 1338 w 2350"/>
              <a:gd name="T3" fmla="*/ 1175 h 2350"/>
              <a:gd name="T4" fmla="*/ 883 w 2350"/>
              <a:gd name="T5" fmla="*/ 1671 h 2350"/>
              <a:gd name="T6" fmla="*/ 883 w 2350"/>
              <a:gd name="T7" fmla="*/ 1813 h 2350"/>
              <a:gd name="T8" fmla="*/ 1023 w 2350"/>
              <a:gd name="T9" fmla="*/ 1813 h 2350"/>
              <a:gd name="T10" fmla="*/ 1579 w 2350"/>
              <a:gd name="T11" fmla="*/ 1246 h 2350"/>
              <a:gd name="T12" fmla="*/ 1579 w 2350"/>
              <a:gd name="T13" fmla="*/ 1104 h 2350"/>
              <a:gd name="T14" fmla="*/ 1023 w 2350"/>
              <a:gd name="T15" fmla="*/ 537 h 2350"/>
              <a:gd name="T16" fmla="*/ 883 w 2350"/>
              <a:gd name="T17" fmla="*/ 537 h 2350"/>
              <a:gd name="T18" fmla="*/ 883 w 2350"/>
              <a:gd name="T19" fmla="*/ 679 h 2350"/>
              <a:gd name="T20" fmla="*/ 0 w 2350"/>
              <a:gd name="T21" fmla="*/ 1175 h 2350"/>
              <a:gd name="T22" fmla="*/ 1175 w 2350"/>
              <a:gd name="T23" fmla="*/ 2350 h 2350"/>
              <a:gd name="T24" fmla="*/ 2350 w 2350"/>
              <a:gd name="T25" fmla="*/ 1175 h 2350"/>
              <a:gd name="T26" fmla="*/ 1175 w 2350"/>
              <a:gd name="T27" fmla="*/ 0 h 2350"/>
              <a:gd name="T28" fmla="*/ 0 w 2350"/>
              <a:gd name="T29" fmla="*/ 1175 h 2350"/>
              <a:gd name="T30" fmla="*/ 2198 w 2350"/>
              <a:gd name="T31" fmla="*/ 1175 h 2350"/>
              <a:gd name="T32" fmla="*/ 1175 w 2350"/>
              <a:gd name="T33" fmla="*/ 2198 h 2350"/>
              <a:gd name="T34" fmla="*/ 152 w 2350"/>
              <a:gd name="T35" fmla="*/ 1175 h 2350"/>
              <a:gd name="T36" fmla="*/ 1175 w 2350"/>
              <a:gd name="T37" fmla="*/ 152 h 2350"/>
              <a:gd name="T38" fmla="*/ 2198 w 2350"/>
              <a:gd name="T39" fmla="*/ 1175 h 2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50" h="235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CE2B13E-9702-4BB9-873B-C5C78895D4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097" y="6257876"/>
            <a:ext cx="921667" cy="41912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DF8791A-82CA-4ED2-BE1E-44E5334A1F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0800000" flipV="1">
            <a:off x="9406342" y="6010835"/>
            <a:ext cx="686210" cy="71127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43DA20C-C9A7-4B15-A311-A8C4BC37968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224413" y="6010835"/>
            <a:ext cx="702667" cy="714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6631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A6B114E-25F2-4C22-B372-02D6AAE09F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02616"/>
            <a:ext cx="11430000" cy="34663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1" cap="all" spc="54" baseline="0">
                <a:solidFill>
                  <a:schemeClr val="accent1"/>
                </a:solidFill>
                <a:latin typeface="+mj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C85A94B-3EFA-4254-95A3-9F4A514CAD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913325"/>
            <a:ext cx="11430000" cy="11615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300"/>
              </a:lnSpc>
              <a:spcBef>
                <a:spcPts val="0"/>
              </a:spcBef>
              <a:buNone/>
              <a:defRPr sz="1600" b="0" cap="none" spc="0" baseline="0">
                <a:solidFill>
                  <a:schemeClr val="accent6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159515D-B766-4947-B320-9C27DFEC07FB}"/>
              </a:ext>
            </a:extLst>
          </p:cNvPr>
          <p:cNvCxnSpPr>
            <a:cxnSpLocks/>
          </p:cNvCxnSpPr>
          <p:nvPr userDrawn="1"/>
        </p:nvCxnSpPr>
        <p:spPr>
          <a:xfrm>
            <a:off x="381000" y="457200"/>
            <a:ext cx="72934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65F1EBD-57F6-45AC-A8B2-B2E6D204FD2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257175" y="1200932"/>
            <a:ext cx="11553825" cy="4742668"/>
          </a:xfrm>
          <a:prstGeom prst="rect">
            <a:avLst/>
          </a:prstGeom>
          <a:noFill/>
        </p:spPr>
        <p:txBody>
          <a:bodyPr lIns="0" tIns="0" rIns="0" bIns="0"/>
          <a:lstStyle>
            <a:lvl1pPr marL="342900" indent="-227013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 sz="1400">
                <a:solidFill>
                  <a:schemeClr val="accent1"/>
                </a:solidFill>
                <a:latin typeface="+mj-lt"/>
              </a:defRPr>
            </a:lvl1pPr>
            <a:lvl2pPr marL="742950" indent="-28575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400">
                <a:solidFill>
                  <a:schemeClr val="accent5"/>
                </a:solidFill>
                <a:latin typeface="+mj-lt"/>
              </a:defRPr>
            </a:lvl2pPr>
            <a:lvl3pPr marL="1143000" indent="-2286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5000"/>
              <a:buFont typeface="Wingdings" panose="05000000000000000000" pitchFamily="2" charset="2"/>
              <a:buChar char="§"/>
              <a:defRPr sz="1200" b="0">
                <a:solidFill>
                  <a:schemeClr val="accent1"/>
                </a:solidFill>
                <a:latin typeface="Calibri Light" panose="020F0302020204030204" pitchFamily="34" charset="0"/>
              </a:defRPr>
            </a:lvl3pPr>
            <a:lvl4pPr marL="1600200" indent="-22860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5000"/>
              <a:buFont typeface="Calibri Light" panose="020F0302020204030204" pitchFamily="34" charset="0"/>
              <a:buChar char="»"/>
              <a:defRPr>
                <a:solidFill>
                  <a:schemeClr val="accent1"/>
                </a:solidFill>
              </a:defRPr>
            </a:lvl4pPr>
            <a:lvl5pPr marL="2057400" indent="-2286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115000"/>
              <a:buFont typeface="Wingdings" panose="05000000000000000000" pitchFamily="2" charset="2"/>
              <a:buChar char="§"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635073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45251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2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A6B114E-25F2-4C22-B372-02D6AAE09F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502616"/>
            <a:ext cx="11430000" cy="34663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1" cap="all" spc="54" baseline="0">
                <a:solidFill>
                  <a:schemeClr val="accent1"/>
                </a:solidFill>
                <a:latin typeface="+mj-lt"/>
                <a:ea typeface="Microsoft Sans Serif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0C85A94B-3EFA-4254-95A3-9F4A514CAD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913325"/>
            <a:ext cx="11430000" cy="11615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300"/>
              </a:lnSpc>
              <a:spcBef>
                <a:spcPts val="0"/>
              </a:spcBef>
              <a:buNone/>
              <a:defRPr sz="1600" b="0" cap="none" spc="0" baseline="0">
                <a:solidFill>
                  <a:schemeClr val="accent6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Microsoft Sans Serif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159515D-B766-4947-B320-9C27DFEC07FB}"/>
              </a:ext>
            </a:extLst>
          </p:cNvPr>
          <p:cNvCxnSpPr>
            <a:cxnSpLocks/>
          </p:cNvCxnSpPr>
          <p:nvPr userDrawn="1"/>
        </p:nvCxnSpPr>
        <p:spPr>
          <a:xfrm>
            <a:off x="381000" y="457200"/>
            <a:ext cx="72934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24965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95616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4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4620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1.xml"/><Relationship Id="rId15" Type="http://schemas.openxmlformats.org/officeDocument/2006/relationships/image" Target="../media/image5.png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10.xml"/><Relationship Id="rId9" Type="http://schemas.openxmlformats.org/officeDocument/2006/relationships/vmlDrawing" Target="../drawings/vmlDrawing5.vml"/><Relationship Id="rId1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3.v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vmlDrawing" Target="../drawings/vmlDrawing15.vml"/><Relationship Id="rId7" Type="http://schemas.openxmlformats.org/officeDocument/2006/relationships/image" Target="../media/image4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6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9524218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8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78932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2" r:id="rId2"/>
    <p:sldLayoutId id="2147483765" r:id="rId3"/>
    <p:sldLayoutId id="2147483766" r:id="rId4"/>
    <p:sldLayoutId id="2147483763" r:id="rId5"/>
    <p:sldLayoutId id="2147483769" r:id="rId6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800" b="1" kern="1200" cap="none" spc="-80" baseline="0">
          <a:solidFill>
            <a:schemeClr val="accent2"/>
          </a:solidFill>
          <a:latin typeface="+mj-lt"/>
          <a:ea typeface="ＭＳ Ｐゴシック" pitchFamily="34" charset="-128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227013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Arial" charset="0"/>
        <a:buChar char="–"/>
        <a:defRPr sz="16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Arial" charset="0"/>
        <a:buChar char="•"/>
        <a:defRPr sz="14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Arial" charset="0"/>
        <a:buChar char="–"/>
        <a:defRPr sz="12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Arial" charset="0"/>
        <a:buChar char="»"/>
        <a:defRPr sz="12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pos="7152">
          <p15:clr>
            <a:srgbClr val="F26B43"/>
          </p15:clr>
        </p15:guide>
        <p15:guide id="5" orient="horz" pos="864">
          <p15:clr>
            <a:srgbClr val="F26B43"/>
          </p15:clr>
        </p15:guide>
        <p15:guide id="6" orient="horz" pos="3744">
          <p15:clr>
            <a:srgbClr val="F26B43"/>
          </p15:clr>
        </p15:guide>
        <p15:guide id="7" pos="7440">
          <p15:clr>
            <a:srgbClr val="F26B43"/>
          </p15:clr>
        </p15:guide>
        <p15:guide id="8" pos="240">
          <p15:clr>
            <a:srgbClr val="F26B43"/>
          </p15:clr>
        </p15:guide>
        <p15:guide id="9" orient="horz" pos="4176">
          <p15:clr>
            <a:srgbClr val="F26B43"/>
          </p15:clr>
        </p15:guide>
        <p15:guide id="10" orient="horz" pos="144">
          <p15:clr>
            <a:srgbClr val="F26B43"/>
          </p15:clr>
        </p15:guide>
        <p15:guide id="11" orient="horz" pos="576">
          <p15:clr>
            <a:srgbClr val="F26B43"/>
          </p15:clr>
        </p15:guide>
        <p15:guide id="12" orient="horz" pos="2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888671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"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ADE3CE6A-5220-48F2-9D8A-87A5C88EF2B8}"/>
              </a:ext>
            </a:extLst>
          </p:cNvPr>
          <p:cNvSpPr txBox="1"/>
          <p:nvPr userDrawn="1"/>
        </p:nvSpPr>
        <p:spPr>
          <a:xfrm>
            <a:off x="11422166" y="6403760"/>
            <a:ext cx="22424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27692F5A-FC14-4E83-B4CC-18F6C2D780A4}" type="slidenum">
              <a:rPr lang="en-US" sz="800" b="0" spc="32" baseline="0" smtClean="0">
                <a:solidFill>
                  <a:schemeClr val="accent6"/>
                </a:solidFill>
                <a:latin typeface="+mn-lt"/>
              </a:rPr>
              <a:pPr algn="ctr"/>
              <a:t>‹#›</a:t>
            </a:fld>
            <a:endParaRPr lang="en-US" sz="800" b="0" spc="32" baseline="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9" name="Freeform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8BB9D31-F6A6-4CBE-99ED-F12BCEBCDED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646408" y="6384969"/>
            <a:ext cx="164592" cy="164592"/>
          </a:xfrm>
          <a:custGeom>
            <a:avLst/>
            <a:gdLst>
              <a:gd name="T0" fmla="*/ 883 w 2350"/>
              <a:gd name="T1" fmla="*/ 679 h 2350"/>
              <a:gd name="T2" fmla="*/ 1338 w 2350"/>
              <a:gd name="T3" fmla="*/ 1175 h 2350"/>
              <a:gd name="T4" fmla="*/ 883 w 2350"/>
              <a:gd name="T5" fmla="*/ 1671 h 2350"/>
              <a:gd name="T6" fmla="*/ 883 w 2350"/>
              <a:gd name="T7" fmla="*/ 1813 h 2350"/>
              <a:gd name="T8" fmla="*/ 1023 w 2350"/>
              <a:gd name="T9" fmla="*/ 1813 h 2350"/>
              <a:gd name="T10" fmla="*/ 1579 w 2350"/>
              <a:gd name="T11" fmla="*/ 1246 h 2350"/>
              <a:gd name="T12" fmla="*/ 1579 w 2350"/>
              <a:gd name="T13" fmla="*/ 1104 h 2350"/>
              <a:gd name="T14" fmla="*/ 1023 w 2350"/>
              <a:gd name="T15" fmla="*/ 537 h 2350"/>
              <a:gd name="T16" fmla="*/ 883 w 2350"/>
              <a:gd name="T17" fmla="*/ 537 h 2350"/>
              <a:gd name="T18" fmla="*/ 883 w 2350"/>
              <a:gd name="T19" fmla="*/ 679 h 2350"/>
              <a:gd name="T20" fmla="*/ 0 w 2350"/>
              <a:gd name="T21" fmla="*/ 1175 h 2350"/>
              <a:gd name="T22" fmla="*/ 1175 w 2350"/>
              <a:gd name="T23" fmla="*/ 2350 h 2350"/>
              <a:gd name="T24" fmla="*/ 2350 w 2350"/>
              <a:gd name="T25" fmla="*/ 1175 h 2350"/>
              <a:gd name="T26" fmla="*/ 1175 w 2350"/>
              <a:gd name="T27" fmla="*/ 0 h 2350"/>
              <a:gd name="T28" fmla="*/ 0 w 2350"/>
              <a:gd name="T29" fmla="*/ 1175 h 2350"/>
              <a:gd name="T30" fmla="*/ 2198 w 2350"/>
              <a:gd name="T31" fmla="*/ 1175 h 2350"/>
              <a:gd name="T32" fmla="*/ 1175 w 2350"/>
              <a:gd name="T33" fmla="*/ 2198 h 2350"/>
              <a:gd name="T34" fmla="*/ 152 w 2350"/>
              <a:gd name="T35" fmla="*/ 1175 h 2350"/>
              <a:gd name="T36" fmla="*/ 1175 w 2350"/>
              <a:gd name="T37" fmla="*/ 152 h 2350"/>
              <a:gd name="T38" fmla="*/ 2198 w 2350"/>
              <a:gd name="T39" fmla="*/ 1175 h 2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50" h="235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/>
          </a:p>
        </p:txBody>
      </p:sp>
      <p:sp>
        <p:nvSpPr>
          <p:cNvPr id="10" name="Freeform 5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2C38B060-FC83-41A1-8FED-0F6836889C1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257574" y="6384969"/>
            <a:ext cx="164592" cy="164592"/>
          </a:xfrm>
          <a:custGeom>
            <a:avLst/>
            <a:gdLst>
              <a:gd name="T0" fmla="*/ 1467 w 2350"/>
              <a:gd name="T1" fmla="*/ 1671 h 2350"/>
              <a:gd name="T2" fmla="*/ 1012 w 2350"/>
              <a:gd name="T3" fmla="*/ 1175 h 2350"/>
              <a:gd name="T4" fmla="*/ 1467 w 2350"/>
              <a:gd name="T5" fmla="*/ 679 h 2350"/>
              <a:gd name="T6" fmla="*/ 1467 w 2350"/>
              <a:gd name="T7" fmla="*/ 537 h 2350"/>
              <a:gd name="T8" fmla="*/ 1327 w 2350"/>
              <a:gd name="T9" fmla="*/ 537 h 2350"/>
              <a:gd name="T10" fmla="*/ 771 w 2350"/>
              <a:gd name="T11" fmla="*/ 1104 h 2350"/>
              <a:gd name="T12" fmla="*/ 771 w 2350"/>
              <a:gd name="T13" fmla="*/ 1246 h 2350"/>
              <a:gd name="T14" fmla="*/ 1327 w 2350"/>
              <a:gd name="T15" fmla="*/ 1813 h 2350"/>
              <a:gd name="T16" fmla="*/ 1467 w 2350"/>
              <a:gd name="T17" fmla="*/ 1813 h 2350"/>
              <a:gd name="T18" fmla="*/ 1467 w 2350"/>
              <a:gd name="T19" fmla="*/ 1671 h 2350"/>
              <a:gd name="T20" fmla="*/ 2350 w 2350"/>
              <a:gd name="T21" fmla="*/ 1175 h 2350"/>
              <a:gd name="T22" fmla="*/ 1175 w 2350"/>
              <a:gd name="T23" fmla="*/ 0 h 2350"/>
              <a:gd name="T24" fmla="*/ 0 w 2350"/>
              <a:gd name="T25" fmla="*/ 1175 h 2350"/>
              <a:gd name="T26" fmla="*/ 1175 w 2350"/>
              <a:gd name="T27" fmla="*/ 2350 h 2350"/>
              <a:gd name="T28" fmla="*/ 2350 w 2350"/>
              <a:gd name="T29" fmla="*/ 1175 h 2350"/>
              <a:gd name="T30" fmla="*/ 152 w 2350"/>
              <a:gd name="T31" fmla="*/ 1175 h 2350"/>
              <a:gd name="T32" fmla="*/ 1175 w 2350"/>
              <a:gd name="T33" fmla="*/ 152 h 2350"/>
              <a:gd name="T34" fmla="*/ 2198 w 2350"/>
              <a:gd name="T35" fmla="*/ 1175 h 2350"/>
              <a:gd name="T36" fmla="*/ 1175 w 2350"/>
              <a:gd name="T37" fmla="*/ 2198 h 2350"/>
              <a:gd name="T38" fmla="*/ 152 w 2350"/>
              <a:gd name="T39" fmla="*/ 1175 h 2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50" h="235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DCEAE9C-D7A7-4D55-A3E0-DA22C961F12B}"/>
              </a:ext>
            </a:extLst>
          </p:cNvPr>
          <p:cNvCxnSpPr>
            <a:cxnSpLocks/>
          </p:cNvCxnSpPr>
          <p:nvPr userDrawn="1"/>
        </p:nvCxnSpPr>
        <p:spPr>
          <a:xfrm>
            <a:off x="1105060" y="6460910"/>
            <a:ext cx="807704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9A1B2111-F31B-43E1-BC13-B50FE7110730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1097" y="6251345"/>
            <a:ext cx="921667" cy="41912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ABDA069-3FF2-4C02-9412-4A0D43B99195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 rot="10800000" flipV="1">
            <a:off x="9406342" y="6010835"/>
            <a:ext cx="686210" cy="71127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389253C-F944-484C-AA7C-DB97DC5C8E37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224413" y="6010835"/>
            <a:ext cx="702667" cy="71473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67" r:id="rId2"/>
    <p:sldLayoutId id="2147483768" r:id="rId3"/>
    <p:sldLayoutId id="2147483753" r:id="rId4"/>
    <p:sldLayoutId id="2147483754" r:id="rId5"/>
    <p:sldLayoutId id="2147483755" r:id="rId6"/>
    <p:sldLayoutId id="2147483756" r:id="rId7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800" b="1" kern="1200" cap="none" spc="-80" baseline="0">
          <a:solidFill>
            <a:schemeClr val="accent2"/>
          </a:solidFill>
          <a:latin typeface="+mj-lt"/>
          <a:ea typeface="ＭＳ Ｐゴシック" pitchFamily="34" charset="-128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227013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Arial" charset="0"/>
        <a:buChar char="–"/>
        <a:defRPr sz="16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Arial" charset="0"/>
        <a:buChar char="•"/>
        <a:defRPr sz="14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Arial" charset="0"/>
        <a:buChar char="–"/>
        <a:defRPr sz="12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Arial" charset="0"/>
        <a:buChar char="»"/>
        <a:defRPr sz="12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528" userDrawn="1">
          <p15:clr>
            <a:srgbClr val="F26B43"/>
          </p15:clr>
        </p15:guide>
        <p15:guide id="4" pos="7152" userDrawn="1">
          <p15:clr>
            <a:srgbClr val="F26B43"/>
          </p15:clr>
        </p15:guide>
        <p15:guide id="5" orient="horz" pos="864" userDrawn="1">
          <p15:clr>
            <a:srgbClr val="F26B43"/>
          </p15:clr>
        </p15:guide>
        <p15:guide id="6" orient="horz" pos="3744" userDrawn="1">
          <p15:clr>
            <a:srgbClr val="F26B43"/>
          </p15:clr>
        </p15:guide>
        <p15:guide id="7" pos="7440" userDrawn="1">
          <p15:clr>
            <a:srgbClr val="F26B43"/>
          </p15:clr>
        </p15:guide>
        <p15:guide id="8" pos="240" userDrawn="1">
          <p15:clr>
            <a:srgbClr val="F26B43"/>
          </p15:clr>
        </p15:guide>
        <p15:guide id="9" orient="horz" pos="4176" userDrawn="1">
          <p15:clr>
            <a:srgbClr val="F26B43"/>
          </p15:clr>
        </p15:guide>
        <p15:guide id="10" orient="horz" pos="144" userDrawn="1">
          <p15:clr>
            <a:srgbClr val="F26B43"/>
          </p15:clr>
        </p15:guide>
        <p15:guide id="11" orient="horz" pos="576" userDrawn="1">
          <p15:clr>
            <a:srgbClr val="F26B43"/>
          </p15:clr>
        </p15:guide>
        <p15:guide id="12" orient="horz" pos="28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38038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ADE3CE6A-5220-48F2-9D8A-87A5C88EF2B8}"/>
              </a:ext>
            </a:extLst>
          </p:cNvPr>
          <p:cNvSpPr txBox="1"/>
          <p:nvPr userDrawn="1"/>
        </p:nvSpPr>
        <p:spPr>
          <a:xfrm>
            <a:off x="11422166" y="6403760"/>
            <a:ext cx="22424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27692F5A-FC14-4E83-B4CC-18F6C2D780A4}" type="slidenum">
              <a:rPr lang="en-US" sz="800" b="0" spc="32" baseline="0" smtClean="0">
                <a:solidFill>
                  <a:schemeClr val="accent6"/>
                </a:solidFill>
                <a:latin typeface="+mn-lt"/>
              </a:rPr>
              <a:pPr algn="ctr"/>
              <a:t>‹#›</a:t>
            </a:fld>
            <a:endParaRPr lang="en-US" sz="800" b="0" spc="32" baseline="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9" name="Freeform 5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E8BB9D31-F6A6-4CBE-99ED-F12BCEBCDED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646408" y="6384969"/>
            <a:ext cx="164592" cy="164592"/>
          </a:xfrm>
          <a:custGeom>
            <a:avLst/>
            <a:gdLst>
              <a:gd name="T0" fmla="*/ 883 w 2350"/>
              <a:gd name="T1" fmla="*/ 679 h 2350"/>
              <a:gd name="T2" fmla="*/ 1338 w 2350"/>
              <a:gd name="T3" fmla="*/ 1175 h 2350"/>
              <a:gd name="T4" fmla="*/ 883 w 2350"/>
              <a:gd name="T5" fmla="*/ 1671 h 2350"/>
              <a:gd name="T6" fmla="*/ 883 w 2350"/>
              <a:gd name="T7" fmla="*/ 1813 h 2350"/>
              <a:gd name="T8" fmla="*/ 1023 w 2350"/>
              <a:gd name="T9" fmla="*/ 1813 h 2350"/>
              <a:gd name="T10" fmla="*/ 1579 w 2350"/>
              <a:gd name="T11" fmla="*/ 1246 h 2350"/>
              <a:gd name="T12" fmla="*/ 1579 w 2350"/>
              <a:gd name="T13" fmla="*/ 1104 h 2350"/>
              <a:gd name="T14" fmla="*/ 1023 w 2350"/>
              <a:gd name="T15" fmla="*/ 537 h 2350"/>
              <a:gd name="T16" fmla="*/ 883 w 2350"/>
              <a:gd name="T17" fmla="*/ 537 h 2350"/>
              <a:gd name="T18" fmla="*/ 883 w 2350"/>
              <a:gd name="T19" fmla="*/ 679 h 2350"/>
              <a:gd name="T20" fmla="*/ 0 w 2350"/>
              <a:gd name="T21" fmla="*/ 1175 h 2350"/>
              <a:gd name="T22" fmla="*/ 1175 w 2350"/>
              <a:gd name="T23" fmla="*/ 2350 h 2350"/>
              <a:gd name="T24" fmla="*/ 2350 w 2350"/>
              <a:gd name="T25" fmla="*/ 1175 h 2350"/>
              <a:gd name="T26" fmla="*/ 1175 w 2350"/>
              <a:gd name="T27" fmla="*/ 0 h 2350"/>
              <a:gd name="T28" fmla="*/ 0 w 2350"/>
              <a:gd name="T29" fmla="*/ 1175 h 2350"/>
              <a:gd name="T30" fmla="*/ 2198 w 2350"/>
              <a:gd name="T31" fmla="*/ 1175 h 2350"/>
              <a:gd name="T32" fmla="*/ 1175 w 2350"/>
              <a:gd name="T33" fmla="*/ 2198 h 2350"/>
              <a:gd name="T34" fmla="*/ 152 w 2350"/>
              <a:gd name="T35" fmla="*/ 1175 h 2350"/>
              <a:gd name="T36" fmla="*/ 1175 w 2350"/>
              <a:gd name="T37" fmla="*/ 152 h 2350"/>
              <a:gd name="T38" fmla="*/ 2198 w 2350"/>
              <a:gd name="T39" fmla="*/ 1175 h 2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50" h="235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/>
          </a:p>
        </p:txBody>
      </p:sp>
      <p:sp>
        <p:nvSpPr>
          <p:cNvPr id="10" name="Freeform 5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2C38B060-FC83-41A1-8FED-0F6836889C1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257574" y="6384969"/>
            <a:ext cx="164592" cy="164592"/>
          </a:xfrm>
          <a:custGeom>
            <a:avLst/>
            <a:gdLst>
              <a:gd name="T0" fmla="*/ 1467 w 2350"/>
              <a:gd name="T1" fmla="*/ 1671 h 2350"/>
              <a:gd name="T2" fmla="*/ 1012 w 2350"/>
              <a:gd name="T3" fmla="*/ 1175 h 2350"/>
              <a:gd name="T4" fmla="*/ 1467 w 2350"/>
              <a:gd name="T5" fmla="*/ 679 h 2350"/>
              <a:gd name="T6" fmla="*/ 1467 w 2350"/>
              <a:gd name="T7" fmla="*/ 537 h 2350"/>
              <a:gd name="T8" fmla="*/ 1327 w 2350"/>
              <a:gd name="T9" fmla="*/ 537 h 2350"/>
              <a:gd name="T10" fmla="*/ 771 w 2350"/>
              <a:gd name="T11" fmla="*/ 1104 h 2350"/>
              <a:gd name="T12" fmla="*/ 771 w 2350"/>
              <a:gd name="T13" fmla="*/ 1246 h 2350"/>
              <a:gd name="T14" fmla="*/ 1327 w 2350"/>
              <a:gd name="T15" fmla="*/ 1813 h 2350"/>
              <a:gd name="T16" fmla="*/ 1467 w 2350"/>
              <a:gd name="T17" fmla="*/ 1813 h 2350"/>
              <a:gd name="T18" fmla="*/ 1467 w 2350"/>
              <a:gd name="T19" fmla="*/ 1671 h 2350"/>
              <a:gd name="T20" fmla="*/ 2350 w 2350"/>
              <a:gd name="T21" fmla="*/ 1175 h 2350"/>
              <a:gd name="T22" fmla="*/ 1175 w 2350"/>
              <a:gd name="T23" fmla="*/ 0 h 2350"/>
              <a:gd name="T24" fmla="*/ 0 w 2350"/>
              <a:gd name="T25" fmla="*/ 1175 h 2350"/>
              <a:gd name="T26" fmla="*/ 1175 w 2350"/>
              <a:gd name="T27" fmla="*/ 2350 h 2350"/>
              <a:gd name="T28" fmla="*/ 2350 w 2350"/>
              <a:gd name="T29" fmla="*/ 1175 h 2350"/>
              <a:gd name="T30" fmla="*/ 152 w 2350"/>
              <a:gd name="T31" fmla="*/ 1175 h 2350"/>
              <a:gd name="T32" fmla="*/ 1175 w 2350"/>
              <a:gd name="T33" fmla="*/ 152 h 2350"/>
              <a:gd name="T34" fmla="*/ 2198 w 2350"/>
              <a:gd name="T35" fmla="*/ 1175 h 2350"/>
              <a:gd name="T36" fmla="*/ 1175 w 2350"/>
              <a:gd name="T37" fmla="*/ 2198 h 2350"/>
              <a:gd name="T38" fmla="*/ 152 w 2350"/>
              <a:gd name="T39" fmla="*/ 1175 h 2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50" h="235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51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800" b="1" kern="1200" cap="none" spc="-80" baseline="0">
          <a:solidFill>
            <a:schemeClr val="accent2"/>
          </a:solidFill>
          <a:latin typeface="+mj-lt"/>
          <a:ea typeface="ＭＳ Ｐゴシック" pitchFamily="34" charset="-128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227013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Arial" charset="0"/>
        <a:buChar char="–"/>
        <a:defRPr sz="16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Arial" charset="0"/>
        <a:buChar char="•"/>
        <a:defRPr sz="14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Arial" charset="0"/>
        <a:buChar char="–"/>
        <a:defRPr sz="12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Arial" charset="0"/>
        <a:buChar char="»"/>
        <a:defRPr sz="12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pos="7152">
          <p15:clr>
            <a:srgbClr val="F26B43"/>
          </p15:clr>
        </p15:guide>
        <p15:guide id="5" orient="horz" pos="864">
          <p15:clr>
            <a:srgbClr val="F26B43"/>
          </p15:clr>
        </p15:guide>
        <p15:guide id="6" orient="horz" pos="3744">
          <p15:clr>
            <a:srgbClr val="F26B43"/>
          </p15:clr>
        </p15:guide>
        <p15:guide id="7" pos="7440">
          <p15:clr>
            <a:srgbClr val="F26B43"/>
          </p15:clr>
        </p15:guide>
        <p15:guide id="8" pos="240">
          <p15:clr>
            <a:srgbClr val="F26B43"/>
          </p15:clr>
        </p15:guide>
        <p15:guide id="9" orient="horz" pos="4176">
          <p15:clr>
            <a:srgbClr val="F26B43"/>
          </p15:clr>
        </p15:guide>
        <p15:guide id="10" orient="horz" pos="144">
          <p15:clr>
            <a:srgbClr val="F26B43"/>
          </p15:clr>
        </p15:guide>
        <p15:guide id="11" orient="horz" pos="576">
          <p15:clr>
            <a:srgbClr val="F26B43"/>
          </p15:clr>
        </p15:guide>
        <p15:guide id="12" orient="horz" pos="2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135706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6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A9E3B23-CBB3-48F8-89A7-3B296E985D18}"/>
              </a:ext>
            </a:extLst>
          </p:cNvPr>
          <p:cNvCxnSpPr>
            <a:cxnSpLocks/>
          </p:cNvCxnSpPr>
          <p:nvPr userDrawn="1"/>
        </p:nvCxnSpPr>
        <p:spPr>
          <a:xfrm>
            <a:off x="1105060" y="6460910"/>
            <a:ext cx="480044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827659B7-2FE9-4AA3-8713-1AB1C3F8B63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10800000" flipV="1">
            <a:off x="9406342" y="6010835"/>
            <a:ext cx="686210" cy="7112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A54A7E8-20D0-43BA-A654-972F57D4A11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224413" y="6010835"/>
            <a:ext cx="702667" cy="71473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F0336B7-34BC-41B5-AFF0-A12EA83F82B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097" y="6257876"/>
            <a:ext cx="921667" cy="419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083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800" b="1" kern="1200" cap="none" spc="-80" baseline="0">
          <a:solidFill>
            <a:schemeClr val="accent2"/>
          </a:solidFill>
          <a:latin typeface="+mj-lt"/>
          <a:ea typeface="ＭＳ Ｐゴシック" pitchFamily="34" charset="-128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227013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" panose="05000000000000000000" pitchFamily="2" charset="2"/>
        <a:buChar char="§"/>
        <a:defRPr sz="18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Arial" charset="0"/>
        <a:buChar char="–"/>
        <a:defRPr sz="16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Arial" charset="0"/>
        <a:buChar char="•"/>
        <a:defRPr sz="14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Arial" charset="0"/>
        <a:buChar char="–"/>
        <a:defRPr sz="12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Arial" charset="0"/>
        <a:buChar char="»"/>
        <a:defRPr sz="1200" kern="1200">
          <a:solidFill>
            <a:schemeClr val="bg1">
              <a:lumMod val="50000"/>
            </a:schemeClr>
          </a:solidFill>
          <a:latin typeface="Calibri Light" panose="020F0302020204030204" pitchFamily="34" charset="0"/>
          <a:ea typeface="ＭＳ Ｐゴシック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8">
          <p15:clr>
            <a:srgbClr val="F26B43"/>
          </p15:clr>
        </p15:guide>
        <p15:guide id="4" pos="7152">
          <p15:clr>
            <a:srgbClr val="F26B43"/>
          </p15:clr>
        </p15:guide>
        <p15:guide id="5" orient="horz" pos="864">
          <p15:clr>
            <a:srgbClr val="F26B43"/>
          </p15:clr>
        </p15:guide>
        <p15:guide id="6" orient="horz" pos="3744">
          <p15:clr>
            <a:srgbClr val="F26B43"/>
          </p15:clr>
        </p15:guide>
        <p15:guide id="7" pos="7440">
          <p15:clr>
            <a:srgbClr val="F26B43"/>
          </p15:clr>
        </p15:guide>
        <p15:guide id="8" pos="240">
          <p15:clr>
            <a:srgbClr val="F26B43"/>
          </p15:clr>
        </p15:guide>
        <p15:guide id="9" orient="horz" pos="4176">
          <p15:clr>
            <a:srgbClr val="F26B43"/>
          </p15:clr>
        </p15:guide>
        <p15:guide id="10" orient="horz" pos="144">
          <p15:clr>
            <a:srgbClr val="F26B43"/>
          </p15:clr>
        </p15:guide>
        <p15:guide id="11" orient="horz" pos="576">
          <p15:clr>
            <a:srgbClr val="F26B43"/>
          </p15:clr>
        </p15:guide>
        <p15:guide id="12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9512838-60BD-49EE-960A-380AB1ECED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ities &amp; universities:</a:t>
            </a:r>
          </a:p>
          <a:p>
            <a:r>
              <a:rPr lang="en-US" dirty="0"/>
              <a:t>Science as a </a:t>
            </a:r>
            <a:r>
              <a:rPr lang="en-US"/>
              <a:t>civic partnership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3847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F3AE391-9810-48F6-8C47-3577938B0D3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ity-draft, culturally sensitive governance mod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C42F930-E47E-4D2F-ACB5-3603C0D9A6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6437" y="963792"/>
            <a:ext cx="10487465" cy="4955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2145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194E2F2-A6B6-4E2D-ADDC-5EFCD743C3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ngaging people drives acceptance, uptake &amp; partnership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12275E-5973-40DB-AB13-6738896B3E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2369" y="1029482"/>
            <a:ext cx="11373730" cy="520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7203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B579472-82F3-45E1-8F04-081D564D28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urrent Chicago node loc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9E41BED-DF5A-4D06-B26A-92F7FA1EAF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8113" y="945499"/>
            <a:ext cx="10401887" cy="5124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9918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C54FCAE-C2A2-4D1E-8432-A2D1C099BF3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University Partnerships across the countr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43DE0B0-EE34-468C-BCA5-A35D0B4A93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485" y="998104"/>
            <a:ext cx="10517945" cy="4962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6570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1AA431C-32D7-43A8-B3B9-62F37BA84D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85BEB1-8DCD-4E04-B80B-5519C036D39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Brenna M. Berman | march 26, 2018</a:t>
            </a:r>
          </a:p>
        </p:txBody>
      </p:sp>
    </p:spTree>
    <p:extLst>
      <p:ext uri="{BB962C8B-B14F-4D97-AF65-F5344CB8AC3E}">
        <p14:creationId xmlns:p14="http://schemas.microsoft.com/office/powerpoint/2010/main" val="21658738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E9823C9-9ED3-4FC3-8F57-99901C7129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ities face increasingly acute challenges &amp; complex situations for solving those challenges – collaboration is key to develop sustainable solutio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94D664-E770-48EC-B8ED-7D8F55FB59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87936" y="1643033"/>
            <a:ext cx="4216129" cy="4216129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9E8A20-8B75-4456-AE64-FFCDB6024DEC}"/>
              </a:ext>
            </a:extLst>
          </p:cNvPr>
          <p:cNvCxnSpPr>
            <a:cxnSpLocks/>
          </p:cNvCxnSpPr>
          <p:nvPr/>
        </p:nvCxnSpPr>
        <p:spPr>
          <a:xfrm>
            <a:off x="381000" y="1939596"/>
            <a:ext cx="4438135" cy="0"/>
          </a:xfrm>
          <a:prstGeom prst="line">
            <a:avLst/>
          </a:prstGeom>
          <a:ln w="12700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6E683A8A-CA34-4F1A-A54A-8E04C3BB7E09}"/>
              </a:ext>
            </a:extLst>
          </p:cNvPr>
          <p:cNvSpPr txBox="1"/>
          <p:nvPr/>
        </p:nvSpPr>
        <p:spPr>
          <a:xfrm>
            <a:off x="310661" y="1684454"/>
            <a:ext cx="4508473" cy="253915"/>
          </a:xfrm>
          <a:prstGeom prst="rect">
            <a:avLst/>
          </a:prstGeom>
          <a:noFill/>
        </p:spPr>
        <p:txBody>
          <a:bodyPr wrap="square" lIns="0" tIns="45720" rIns="0" bIns="45720" rtlCol="0">
            <a:spAutoFit/>
          </a:bodyPr>
          <a:lstStyle/>
          <a:p>
            <a:pPr marL="115887" eaLnBrk="0" hangingPunct="0">
              <a:spcBef>
                <a:spcPct val="20000"/>
              </a:spcBef>
              <a:buClr>
                <a:srgbClr val="0099CC"/>
              </a:buClr>
              <a:buSzPct val="80000"/>
            </a:pPr>
            <a:r>
              <a:rPr lang="en-US" sz="1050" spc="300" dirty="0">
                <a:solidFill>
                  <a:schemeClr val="accent3"/>
                </a:solidFill>
                <a:latin typeface="+mj-lt"/>
              </a:rPr>
              <a:t>CHALLENGES ARE MULTI-DIMENSIONA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7A1DB5C-7E1E-4038-A380-6369B0F87ECF}"/>
              </a:ext>
            </a:extLst>
          </p:cNvPr>
          <p:cNvCxnSpPr>
            <a:cxnSpLocks/>
          </p:cNvCxnSpPr>
          <p:nvPr/>
        </p:nvCxnSpPr>
        <p:spPr>
          <a:xfrm>
            <a:off x="7235651" y="2994673"/>
            <a:ext cx="4438135" cy="0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FD3A840-1B72-4CD0-80A7-7D4C4F1FBEDF}"/>
              </a:ext>
            </a:extLst>
          </p:cNvPr>
          <p:cNvSpPr txBox="1"/>
          <p:nvPr/>
        </p:nvSpPr>
        <p:spPr>
          <a:xfrm>
            <a:off x="8204065" y="2424602"/>
            <a:ext cx="3572532" cy="577081"/>
          </a:xfrm>
          <a:prstGeom prst="rect">
            <a:avLst/>
          </a:prstGeom>
          <a:noFill/>
        </p:spPr>
        <p:txBody>
          <a:bodyPr wrap="square" lIns="0" tIns="45720" rIns="0" bIns="45720" rtlCol="0">
            <a:spAutoFit/>
          </a:bodyPr>
          <a:lstStyle/>
          <a:p>
            <a:pPr marL="115887" eaLnBrk="0" hangingPunct="0">
              <a:spcBef>
                <a:spcPct val="20000"/>
              </a:spcBef>
              <a:buClr>
                <a:srgbClr val="0099CC"/>
              </a:buClr>
              <a:buSzPct val="80000"/>
            </a:pPr>
            <a:r>
              <a:rPr lang="en-US" sz="1050" spc="300" dirty="0">
                <a:solidFill>
                  <a:schemeClr val="accent1"/>
                </a:solidFill>
                <a:latin typeface="+mj-lt"/>
              </a:rPr>
              <a:t>MULTIPLE PLAYERSMUST BE INVOLVED TO ESIGN AND DEPLOY A SUCCESSFUL SOLUTION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A213175-2DD4-4063-82FB-886842E37088}"/>
              </a:ext>
            </a:extLst>
          </p:cNvPr>
          <p:cNvCxnSpPr>
            <a:cxnSpLocks/>
          </p:cNvCxnSpPr>
          <p:nvPr/>
        </p:nvCxnSpPr>
        <p:spPr>
          <a:xfrm>
            <a:off x="329421" y="4406128"/>
            <a:ext cx="4438135" cy="0"/>
          </a:xfrm>
          <a:prstGeom prst="line">
            <a:avLst/>
          </a:prstGeom>
          <a:ln w="1270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B7D2F19E-FF1C-422C-9021-FA1663D13D7C}"/>
              </a:ext>
            </a:extLst>
          </p:cNvPr>
          <p:cNvSpPr txBox="1"/>
          <p:nvPr/>
        </p:nvSpPr>
        <p:spPr>
          <a:xfrm>
            <a:off x="212191" y="3990630"/>
            <a:ext cx="4438137" cy="415498"/>
          </a:xfrm>
          <a:prstGeom prst="rect">
            <a:avLst/>
          </a:prstGeom>
          <a:noFill/>
        </p:spPr>
        <p:txBody>
          <a:bodyPr wrap="square" lIns="0" tIns="45720" rIns="0" bIns="45720" rtlCol="0">
            <a:spAutoFit/>
          </a:bodyPr>
          <a:lstStyle/>
          <a:p>
            <a:pPr marL="115887" eaLnBrk="0" hangingPunct="0">
              <a:spcBef>
                <a:spcPct val="20000"/>
              </a:spcBef>
              <a:buClr>
                <a:srgbClr val="0099CC"/>
              </a:buClr>
              <a:buSzPct val="80000"/>
            </a:pPr>
            <a:r>
              <a:rPr lang="en-US" sz="1050" spc="300" dirty="0">
                <a:solidFill>
                  <a:schemeClr val="accent1"/>
                </a:solidFill>
                <a:latin typeface="+mj-lt"/>
              </a:rPr>
              <a:t>CHALLENGES EVOLVE &amp; IMPACT </a:t>
            </a:r>
            <a:br>
              <a:rPr lang="en-US" sz="1050" spc="300" dirty="0">
                <a:solidFill>
                  <a:schemeClr val="accent1"/>
                </a:solidFill>
                <a:latin typeface="+mj-lt"/>
              </a:rPr>
            </a:br>
            <a:r>
              <a:rPr lang="en-US" sz="1050" spc="300" dirty="0">
                <a:solidFill>
                  <a:schemeClr val="accent1"/>
                </a:solidFill>
                <a:latin typeface="+mj-lt"/>
              </a:rPr>
              <a:t>DIFFERENT PARTS OF CITIES DIFFERENTL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664C9B6-5EED-4AB6-8813-7797AECF2B18}"/>
              </a:ext>
            </a:extLst>
          </p:cNvPr>
          <p:cNvSpPr/>
          <p:nvPr/>
        </p:nvSpPr>
        <p:spPr>
          <a:xfrm>
            <a:off x="310661" y="1938370"/>
            <a:ext cx="4508474" cy="14850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73152" rIns="0" bIns="0" numCol="1" spcCol="1270" rtlCol="0" anchor="t" anchorCtr="0">
            <a:noAutofit/>
          </a:bodyPr>
          <a:lstStyle/>
          <a:p>
            <a:pPr marL="342900" lvl="0" indent="-227013" eaLnBrk="0" hangingPunct="0">
              <a:spcBef>
                <a:spcPts val="0"/>
              </a:spcBef>
              <a:spcAft>
                <a:spcPts val="600"/>
              </a:spcAft>
              <a:buClr>
                <a:srgbClr val="BA3535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accent3"/>
                </a:solidFill>
                <a:ea typeface="ＭＳ Ｐゴシック" pitchFamily="34" charset="-128"/>
              </a:rPr>
              <a:t>Climate change leads to flooding, heat waves, </a:t>
            </a:r>
            <a:br>
              <a:rPr lang="en-US" sz="1400" dirty="0">
                <a:solidFill>
                  <a:schemeClr val="accent3"/>
                </a:solidFill>
                <a:ea typeface="ＭＳ Ｐゴシック" pitchFamily="34" charset="-128"/>
              </a:rPr>
            </a:br>
            <a:r>
              <a:rPr lang="en-US" sz="1400" dirty="0">
                <a:solidFill>
                  <a:schemeClr val="accent3"/>
                </a:solidFill>
                <a:ea typeface="ＭＳ Ｐゴシック" pitchFamily="34" charset="-128"/>
              </a:rPr>
              <a:t>&amp; other emergencies</a:t>
            </a:r>
          </a:p>
          <a:p>
            <a:pPr marL="342900" lvl="0" indent="-227013" eaLnBrk="0" hangingPunct="0">
              <a:spcBef>
                <a:spcPts val="0"/>
              </a:spcBef>
              <a:spcAft>
                <a:spcPts val="600"/>
              </a:spcAft>
              <a:buClr>
                <a:srgbClr val="BA3535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accent3"/>
                </a:solidFill>
                <a:ea typeface="ＭＳ Ｐゴシック" pitchFamily="34" charset="-128"/>
              </a:rPr>
              <a:t>Traffic congestion leads to air pollution, </a:t>
            </a:r>
            <a:br>
              <a:rPr lang="en-US" sz="1400" dirty="0">
                <a:solidFill>
                  <a:schemeClr val="accent3"/>
                </a:solidFill>
                <a:ea typeface="ＭＳ Ｐゴシック" pitchFamily="34" charset="-128"/>
              </a:rPr>
            </a:br>
            <a:r>
              <a:rPr lang="en-US" sz="1400" dirty="0">
                <a:solidFill>
                  <a:schemeClr val="accent3"/>
                </a:solidFill>
                <a:ea typeface="ＭＳ Ｐゴシック" pitchFamily="34" charset="-128"/>
              </a:rPr>
              <a:t>increased travel time, &amp; accidents</a:t>
            </a:r>
          </a:p>
          <a:p>
            <a:pPr marL="342900" indent="-227013" eaLnBrk="0" hangingPunct="0">
              <a:spcBef>
                <a:spcPts val="0"/>
              </a:spcBef>
              <a:spcAft>
                <a:spcPts val="600"/>
              </a:spcAft>
              <a:buClr>
                <a:srgbClr val="BA3535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accent3"/>
                </a:solidFill>
                <a:ea typeface="ＭＳ Ｐゴシック" pitchFamily="34" charset="-128"/>
              </a:rPr>
              <a:t>Economic development creates jobs but also        increases waste, further stresses infrastructure                 &amp; can displace vulnerable populations</a:t>
            </a:r>
          </a:p>
          <a:p>
            <a:pPr marL="115887" lvl="0" eaLnBrk="0" hangingPunct="0">
              <a:spcBef>
                <a:spcPts val="0"/>
              </a:spcBef>
              <a:spcAft>
                <a:spcPts val="600"/>
              </a:spcAft>
              <a:buClr>
                <a:srgbClr val="BA3535"/>
              </a:buClr>
              <a:buSzPct val="100000"/>
            </a:pPr>
            <a:br>
              <a:rPr lang="en-US" sz="1400" dirty="0">
                <a:solidFill>
                  <a:srgbClr val="233951"/>
                </a:solidFill>
                <a:ea typeface="ＭＳ Ｐゴシック" pitchFamily="34" charset="-128"/>
              </a:rPr>
            </a:br>
            <a:endParaRPr lang="en-US" sz="1400" b="1" dirty="0">
              <a:solidFill>
                <a:srgbClr val="233951"/>
              </a:solidFill>
              <a:ea typeface="ＭＳ Ｐゴシック" pitchFamily="34" charset="-128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C406865-B807-44D1-8E89-540BA3A4F7F3}"/>
              </a:ext>
            </a:extLst>
          </p:cNvPr>
          <p:cNvSpPr/>
          <p:nvPr/>
        </p:nvSpPr>
        <p:spPr>
          <a:xfrm>
            <a:off x="8204064" y="3008557"/>
            <a:ext cx="3469721" cy="14850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73152" rIns="0" bIns="0" numCol="1" spcCol="1270" rtlCol="0" anchor="t" anchorCtr="0">
            <a:noAutofit/>
          </a:bodyPr>
          <a:lstStyle/>
          <a:p>
            <a:pPr marL="342900" lvl="0" indent="-227013" eaLnBrk="0" hangingPunct="0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accent1"/>
                </a:solidFill>
                <a:ea typeface="ＭＳ Ｐゴシック" pitchFamily="34" charset="-128"/>
              </a:rPr>
              <a:t>Residents</a:t>
            </a:r>
          </a:p>
          <a:p>
            <a:pPr marL="342900" lvl="0" indent="-227013" eaLnBrk="0" hangingPunct="0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accent1"/>
                </a:solidFill>
                <a:ea typeface="ＭＳ Ｐゴシック" pitchFamily="34" charset="-128"/>
              </a:rPr>
              <a:t>Anchor Institutes</a:t>
            </a:r>
          </a:p>
          <a:p>
            <a:pPr marL="342900" lvl="0" indent="-227013" eaLnBrk="0" hangingPunct="0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accent1"/>
                </a:solidFill>
                <a:ea typeface="ＭＳ Ｐゴシック" pitchFamily="34" charset="-128"/>
              </a:rPr>
              <a:t>Government</a:t>
            </a:r>
          </a:p>
          <a:p>
            <a:pPr marL="342900" lvl="0" indent="-227013" eaLnBrk="0" hangingPunct="0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accent1"/>
                </a:solidFill>
                <a:ea typeface="ＭＳ Ｐゴシック" pitchFamily="34" charset="-128"/>
              </a:rPr>
              <a:t>Tourists</a:t>
            </a:r>
          </a:p>
          <a:p>
            <a:pPr marL="342900" lvl="0" indent="-227013" eaLnBrk="0" hangingPunct="0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accent1"/>
                </a:solidFill>
                <a:ea typeface="ＭＳ Ｐゴシック" pitchFamily="34" charset="-128"/>
              </a:rPr>
              <a:t>Businesses</a:t>
            </a:r>
            <a:br>
              <a:rPr lang="en-US" sz="1400" dirty="0">
                <a:solidFill>
                  <a:schemeClr val="accent1"/>
                </a:solidFill>
                <a:ea typeface="ＭＳ Ｐゴシック" pitchFamily="34" charset="-128"/>
              </a:rPr>
            </a:br>
            <a:endParaRPr lang="en-US" sz="1400" b="1" dirty="0">
              <a:solidFill>
                <a:schemeClr val="accent1"/>
              </a:solidFill>
              <a:ea typeface="ＭＳ Ｐゴシック" pitchFamily="34" charset="-128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5722BB0-AFBD-4146-A5BA-BE3D3D5C0BB1}"/>
              </a:ext>
            </a:extLst>
          </p:cNvPr>
          <p:cNvSpPr/>
          <p:nvPr/>
        </p:nvSpPr>
        <p:spPr>
          <a:xfrm>
            <a:off x="310661" y="4406128"/>
            <a:ext cx="4508474" cy="14850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73152" rIns="0" bIns="0" numCol="1" spcCol="1270" rtlCol="0" anchor="t" anchorCtr="0">
            <a:noAutofit/>
          </a:bodyPr>
          <a:lstStyle/>
          <a:p>
            <a:pPr marL="342900" lvl="0" indent="-227013" eaLnBrk="0" hangingPunct="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accent1"/>
                </a:solidFill>
                <a:ea typeface="ＭＳ Ｐゴシック" pitchFamily="34" charset="-128"/>
              </a:rPr>
              <a:t>Neighborhoods</a:t>
            </a:r>
          </a:p>
          <a:p>
            <a:pPr marL="342900" lvl="0" indent="-227013" eaLnBrk="0" hangingPunct="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accent1"/>
                </a:solidFill>
                <a:ea typeface="ＭＳ Ｐゴシック" pitchFamily="34" charset="-128"/>
              </a:rPr>
              <a:t>Business Districts</a:t>
            </a:r>
          </a:p>
          <a:p>
            <a:pPr marL="342900" lvl="0" indent="-227013" eaLnBrk="0" hangingPunct="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accent1"/>
                </a:solidFill>
                <a:ea typeface="ＭＳ Ｐゴシック" pitchFamily="34" charset="-128"/>
              </a:rPr>
              <a:t>Industrial Zones</a:t>
            </a:r>
          </a:p>
          <a:p>
            <a:pPr marL="342900" lvl="0" indent="-227013" eaLnBrk="0" hangingPunct="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accent1"/>
                </a:solidFill>
                <a:ea typeface="ＭＳ Ｐゴシック" pitchFamily="34" charset="-128"/>
              </a:rPr>
              <a:t>Green Spaces</a:t>
            </a:r>
            <a:br>
              <a:rPr lang="en-US" sz="1400" dirty="0">
                <a:solidFill>
                  <a:srgbClr val="233951"/>
                </a:solidFill>
                <a:ea typeface="ＭＳ Ｐゴシック" pitchFamily="34" charset="-128"/>
              </a:rPr>
            </a:br>
            <a:endParaRPr lang="en-US" sz="1400" b="1" dirty="0">
              <a:solidFill>
                <a:srgbClr val="233951"/>
              </a:solidFill>
              <a:ea typeface="ＭＳ Ｐゴシック" pitchFamily="34" charset="-128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D67D1D5-FBC4-424C-8FCF-89DDAFC1D374}"/>
              </a:ext>
            </a:extLst>
          </p:cNvPr>
          <p:cNvGrpSpPr/>
          <p:nvPr/>
        </p:nvGrpSpPr>
        <p:grpSpPr>
          <a:xfrm>
            <a:off x="7066775" y="2741395"/>
            <a:ext cx="496954" cy="545760"/>
            <a:chOff x="8641492" y="1239611"/>
            <a:chExt cx="337751" cy="337751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669D2A02-214D-4EF3-9CDD-FC3AFE1FADDD}"/>
                </a:ext>
              </a:extLst>
            </p:cNvPr>
            <p:cNvSpPr/>
            <p:nvPr/>
          </p:nvSpPr>
          <p:spPr>
            <a:xfrm>
              <a:off x="8641492" y="1239611"/>
              <a:ext cx="337751" cy="33775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rtlCol="0" anchor="ctr" anchorCtr="0">
              <a:noAutofit/>
            </a:bodyPr>
            <a:lstStyle/>
            <a:p>
              <a:pPr algn="ctr" defTabSz="1466850" fontAlgn="auto">
                <a:lnSpc>
                  <a:spcPct val="90000"/>
                </a:lnSpc>
                <a:spcAft>
                  <a:spcPts val="0"/>
                </a:spcAft>
              </a:pPr>
              <a:endParaRPr lang="en-US" sz="1000" dirty="0" err="1">
                <a:solidFill>
                  <a:prstClr val="white"/>
                </a:solidFill>
                <a:latin typeface="Calibri Light" panose="020F0302020204030204" pitchFamily="34" charset="0"/>
              </a:endParaRPr>
            </a:p>
          </p:txBody>
        </p:sp>
        <p:pic>
          <p:nvPicPr>
            <p:cNvPr id="33" name="Graphic 32" descr="Users">
              <a:extLst>
                <a:ext uri="{FF2B5EF4-FFF2-40B4-BE49-F238E27FC236}">
                  <a16:creationId xmlns:a16="http://schemas.microsoft.com/office/drawing/2014/main" id="{D1F56789-3D69-4CEC-B138-08D6E560FFA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687645" y="1285764"/>
              <a:ext cx="245444" cy="245444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0553CD2-C41F-4F5B-9218-F590315F5B5A}"/>
              </a:ext>
            </a:extLst>
          </p:cNvPr>
          <p:cNvGrpSpPr/>
          <p:nvPr/>
        </p:nvGrpSpPr>
        <p:grpSpPr>
          <a:xfrm>
            <a:off x="4677799" y="1697139"/>
            <a:ext cx="569450" cy="511492"/>
            <a:chOff x="7521146" y="1268627"/>
            <a:chExt cx="337751" cy="337751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03696CF2-9A16-4D65-AC3E-B9EB6E0BC405}"/>
                </a:ext>
              </a:extLst>
            </p:cNvPr>
            <p:cNvSpPr/>
            <p:nvPr/>
          </p:nvSpPr>
          <p:spPr>
            <a:xfrm>
              <a:off x="7521146" y="1268627"/>
              <a:ext cx="337751" cy="33775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rtlCol="0" anchor="ctr" anchorCtr="0">
              <a:noAutofit/>
            </a:bodyPr>
            <a:lstStyle/>
            <a:p>
              <a:pPr algn="ctr" defTabSz="1466850" fontAlgn="auto">
                <a:lnSpc>
                  <a:spcPct val="90000"/>
                </a:lnSpc>
                <a:spcAft>
                  <a:spcPts val="0"/>
                </a:spcAft>
              </a:pPr>
              <a:endParaRPr lang="en-US" sz="1000" dirty="0" err="1">
                <a:solidFill>
                  <a:prstClr val="white"/>
                </a:solidFill>
                <a:latin typeface="Calibri Light" panose="020F0302020204030204" pitchFamily="34" charset="0"/>
              </a:endParaRPr>
            </a:p>
          </p:txBody>
        </p:sp>
        <p:pic>
          <p:nvPicPr>
            <p:cNvPr id="35" name="Graphic 34" descr="Puzzle">
              <a:extLst>
                <a:ext uri="{FF2B5EF4-FFF2-40B4-BE49-F238E27FC236}">
                  <a16:creationId xmlns:a16="http://schemas.microsoft.com/office/drawing/2014/main" id="{FFB01A28-0366-498D-BC8B-1BE311E676E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571952" y="1319433"/>
              <a:ext cx="236138" cy="236138"/>
            </a:xfrm>
            <a:prstGeom prst="rect">
              <a:avLst/>
            </a:prstGeom>
          </p:spPr>
        </p:pic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D23A349-27E8-49B0-B84A-BEE3A777C300}"/>
              </a:ext>
            </a:extLst>
          </p:cNvPr>
          <p:cNvGrpSpPr/>
          <p:nvPr/>
        </p:nvGrpSpPr>
        <p:grpSpPr>
          <a:xfrm>
            <a:off x="4677798" y="4148162"/>
            <a:ext cx="531937" cy="541073"/>
            <a:chOff x="8035189" y="1252151"/>
            <a:chExt cx="337751" cy="337751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9A7BFA53-0FCE-4286-84EA-C65C05C9159E}"/>
                </a:ext>
              </a:extLst>
            </p:cNvPr>
            <p:cNvSpPr/>
            <p:nvPr/>
          </p:nvSpPr>
          <p:spPr>
            <a:xfrm>
              <a:off x="8035189" y="1252151"/>
              <a:ext cx="337751" cy="337751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rtlCol="0" anchor="ctr" anchorCtr="0">
              <a:noAutofit/>
            </a:bodyPr>
            <a:lstStyle/>
            <a:p>
              <a:pPr algn="ctr" defTabSz="1466850" fontAlgn="auto">
                <a:lnSpc>
                  <a:spcPct val="90000"/>
                </a:lnSpc>
                <a:spcAft>
                  <a:spcPts val="0"/>
                </a:spcAft>
              </a:pPr>
              <a:endParaRPr lang="en-US" sz="1000" dirty="0" err="1">
                <a:solidFill>
                  <a:prstClr val="white"/>
                </a:solidFill>
                <a:latin typeface="Calibri Light" panose="020F0302020204030204" pitchFamily="34" charset="0"/>
              </a:endParaRPr>
            </a:p>
          </p:txBody>
        </p:sp>
        <p:pic>
          <p:nvPicPr>
            <p:cNvPr id="37" name="Graphic 36" descr="Map with pin">
              <a:extLst>
                <a:ext uri="{FF2B5EF4-FFF2-40B4-BE49-F238E27FC236}">
                  <a16:creationId xmlns:a16="http://schemas.microsoft.com/office/drawing/2014/main" id="{D68CE557-99FA-453D-BA0C-591394FBD36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089348" y="1295070"/>
              <a:ext cx="226376" cy="226376"/>
            </a:xfrm>
            <a:prstGeom prst="rect">
              <a:avLst/>
            </a:prstGeom>
          </p:spPr>
        </p:pic>
      </p:grp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ED9FB87-DFD4-4955-8D86-2AB4B958A6A4}"/>
              </a:ext>
            </a:extLst>
          </p:cNvPr>
          <p:cNvCxnSpPr>
            <a:cxnSpLocks/>
          </p:cNvCxnSpPr>
          <p:nvPr/>
        </p:nvCxnSpPr>
        <p:spPr>
          <a:xfrm>
            <a:off x="381000" y="1939596"/>
            <a:ext cx="3474308" cy="0"/>
          </a:xfrm>
          <a:prstGeom prst="line">
            <a:avLst/>
          </a:prstGeom>
          <a:ln w="12700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34254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30E9256-201E-48A3-BA37-816C3A4086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he need for more data and functionality to inform urban solutions is bring cities and universities togeth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0882307-40FF-4D2E-8215-F822CE82B8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1273316"/>
            <a:ext cx="11342914" cy="4660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1997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F8AC9C1-DDF9-4A0C-860E-074C48321A7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he Array of Things: science as a civic partnership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F7BC8F4-AC20-4314-AA20-3947051E78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62667"/>
            <a:ext cx="12192000" cy="4532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4751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1CCA2C2-1811-4CD9-92D0-4AFFA807F7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 program designed to meet many need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07D2093-F660-4FC5-9F9C-8FB469C18A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351" y="1111346"/>
            <a:ext cx="10566009" cy="4626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6712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52C94DD-86F1-4CE4-828F-33D9D706E6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9989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4BAE61A-C0D7-48AB-B897-D5EE544EC7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argeting data sets defined to meet many need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555597-8682-47AB-9E59-9E3BF57A95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959" y="1156408"/>
            <a:ext cx="2019300" cy="28289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6087256-4695-4EBE-8B76-56C0A15A25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34364" y="575382"/>
            <a:ext cx="2457450" cy="39909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4DD80AE-626E-4055-B011-313790DE7F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9930" y="1119187"/>
            <a:ext cx="2767878" cy="286614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825E443-3F5B-4414-9144-63D39C38E4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37557" y="951547"/>
            <a:ext cx="2652455" cy="238952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B480380-CC5B-49E8-BB34-536399CC49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26010" y="4329845"/>
            <a:ext cx="3767138" cy="1796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9938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828EE6C-84C0-496C-B492-7BAF2CD678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esign is influences &amp; optimized by those responsible for install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7233551-7685-4A6A-807A-DCEE6A1D0C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1009" y="888802"/>
            <a:ext cx="9903656" cy="5324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5664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BF47498-FFC5-40DB-9E88-6590663324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omputer vision at the edge for performance &amp; privac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08E9A75-F72B-497B-A5A9-8D5738E68A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6905"/>
            <a:ext cx="12192000" cy="4464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030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eaders">
  <a:themeElements>
    <a:clrScheme name="City Tech Collaborative">
      <a:dk1>
        <a:srgbClr val="5ABDE5"/>
      </a:dk1>
      <a:lt1>
        <a:sysClr val="window" lastClr="FFFFFF"/>
      </a:lt1>
      <a:dk2>
        <a:srgbClr val="5ABDE5"/>
      </a:dk2>
      <a:lt2>
        <a:srgbClr val="FFFFFF"/>
      </a:lt2>
      <a:accent1>
        <a:srgbClr val="233951"/>
      </a:accent1>
      <a:accent2>
        <a:srgbClr val="D3D7DC"/>
      </a:accent2>
      <a:accent3>
        <a:srgbClr val="BA3535"/>
      </a:accent3>
      <a:accent4>
        <a:srgbClr val="5ABDE5"/>
      </a:accent4>
      <a:accent5>
        <a:srgbClr val="233951"/>
      </a:accent5>
      <a:accent6>
        <a:srgbClr val="7B8897"/>
      </a:accent6>
      <a:hlink>
        <a:srgbClr val="5ABDE5"/>
      </a:hlink>
      <a:folHlink>
        <a:srgbClr val="233951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spcFirstLastPara="0" vert="horz" wrap="square" lIns="91440" tIns="91440" rIns="91440" bIns="91440" numCol="1" spcCol="1270" rtlCol="0" anchor="ctr" anchorCtr="0">
        <a:noAutofit/>
      </a:bodyPr>
      <a:lstStyle>
        <a:defPPr algn="ctr" defTabSz="1466850" fontAlgn="auto">
          <a:lnSpc>
            <a:spcPct val="90000"/>
          </a:lnSpc>
          <a:spcAft>
            <a:spcPts val="0"/>
          </a:spcAft>
          <a:defRPr sz="1000" dirty="0" err="1" smtClean="0">
            <a:solidFill>
              <a:prstClr val="white"/>
            </a:solidFill>
            <a:latin typeface="Calibri Light" panose="020F0302020204030204" pitchFamily="34" charset="0"/>
          </a:defRPr>
        </a:defPPr>
      </a:lstStyle>
      <a:style>
        <a:lnRef idx="2">
          <a:schemeClr val="lt1">
            <a:hueOff val="0"/>
            <a:satOff val="0"/>
            <a:lumOff val="0"/>
            <a:alphaOff val="0"/>
          </a:schemeClr>
        </a:lnRef>
        <a:fillRef idx="1">
          <a:schemeClr val="accent1">
            <a:hueOff val="0"/>
            <a:satOff val="0"/>
            <a:lumOff val="0"/>
            <a:alphaOff val="0"/>
          </a:schemeClr>
        </a:fillRef>
        <a:effectRef idx="0">
          <a:schemeClr val="accent1">
            <a:hueOff val="0"/>
            <a:satOff val="0"/>
            <a:lumOff val="0"/>
            <a:alphaOff val="0"/>
          </a:schemeClr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15887" eaLnBrk="0" hangingPunct="0">
          <a:spcBef>
            <a:spcPct val="20000"/>
          </a:spcBef>
          <a:buClr>
            <a:srgbClr val="0099CC"/>
          </a:buClr>
          <a:buSzPct val="80000"/>
          <a:defRPr sz="1600" dirty="0" smtClean="0">
            <a:solidFill>
              <a:prstClr val="white">
                <a:lumMod val="50000"/>
              </a:prstClr>
            </a:solidFill>
            <a:latin typeface="Calibri Light" panose="020F030202020403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ity Tech Collaborative">
  <a:themeElements>
    <a:clrScheme name="City Tech Collaborative">
      <a:dk1>
        <a:srgbClr val="5ABDE5"/>
      </a:dk1>
      <a:lt1>
        <a:sysClr val="window" lastClr="FFFFFF"/>
      </a:lt1>
      <a:dk2>
        <a:srgbClr val="5ABDE5"/>
      </a:dk2>
      <a:lt2>
        <a:srgbClr val="FFFFFF"/>
      </a:lt2>
      <a:accent1>
        <a:srgbClr val="233951"/>
      </a:accent1>
      <a:accent2>
        <a:srgbClr val="D3D7DC"/>
      </a:accent2>
      <a:accent3>
        <a:srgbClr val="BA3535"/>
      </a:accent3>
      <a:accent4>
        <a:srgbClr val="5ABDE5"/>
      </a:accent4>
      <a:accent5>
        <a:srgbClr val="233951"/>
      </a:accent5>
      <a:accent6>
        <a:srgbClr val="7B8897"/>
      </a:accent6>
      <a:hlink>
        <a:srgbClr val="5ABDE5"/>
      </a:hlink>
      <a:folHlink>
        <a:srgbClr val="233951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spcFirstLastPara="0" vert="horz" wrap="square" lIns="91440" tIns="91440" rIns="91440" bIns="91440" numCol="1" spcCol="1270" rtlCol="0" anchor="ctr" anchorCtr="0">
        <a:noAutofit/>
      </a:bodyPr>
      <a:lstStyle>
        <a:defPPr algn="ctr" defTabSz="1466850" fontAlgn="auto">
          <a:lnSpc>
            <a:spcPct val="90000"/>
          </a:lnSpc>
          <a:spcAft>
            <a:spcPts val="0"/>
          </a:spcAft>
          <a:defRPr sz="1000" dirty="0" err="1" smtClean="0">
            <a:solidFill>
              <a:prstClr val="white"/>
            </a:solidFill>
            <a:latin typeface="Calibri Light" panose="020F0302020204030204" pitchFamily="34" charset="0"/>
          </a:defRPr>
        </a:defPPr>
      </a:lstStyle>
      <a:style>
        <a:lnRef idx="2">
          <a:schemeClr val="lt1">
            <a:hueOff val="0"/>
            <a:satOff val="0"/>
            <a:lumOff val="0"/>
            <a:alphaOff val="0"/>
          </a:schemeClr>
        </a:lnRef>
        <a:fillRef idx="1">
          <a:schemeClr val="accent1">
            <a:hueOff val="0"/>
            <a:satOff val="0"/>
            <a:lumOff val="0"/>
            <a:alphaOff val="0"/>
          </a:schemeClr>
        </a:fillRef>
        <a:effectRef idx="0">
          <a:schemeClr val="accent1">
            <a:hueOff val="0"/>
            <a:satOff val="0"/>
            <a:lumOff val="0"/>
            <a:alphaOff val="0"/>
          </a:schemeClr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15887" eaLnBrk="0" hangingPunct="0">
          <a:spcBef>
            <a:spcPct val="20000"/>
          </a:spcBef>
          <a:buClr>
            <a:srgbClr val="0099CC"/>
          </a:buClr>
          <a:buSzPct val="80000"/>
          <a:defRPr sz="1600" dirty="0" smtClean="0">
            <a:solidFill>
              <a:prstClr val="white">
                <a:lumMod val="50000"/>
              </a:prstClr>
            </a:solidFill>
            <a:latin typeface="Calibri Light" panose="020F0302020204030204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Alternate Footer">
  <a:themeElements>
    <a:clrScheme name="City Tech Collaborative">
      <a:dk1>
        <a:srgbClr val="5ABDE5"/>
      </a:dk1>
      <a:lt1>
        <a:sysClr val="window" lastClr="FFFFFF"/>
      </a:lt1>
      <a:dk2>
        <a:srgbClr val="5ABDE5"/>
      </a:dk2>
      <a:lt2>
        <a:srgbClr val="FFFFFF"/>
      </a:lt2>
      <a:accent1>
        <a:srgbClr val="233951"/>
      </a:accent1>
      <a:accent2>
        <a:srgbClr val="D3D7DC"/>
      </a:accent2>
      <a:accent3>
        <a:srgbClr val="BA3535"/>
      </a:accent3>
      <a:accent4>
        <a:srgbClr val="5ABDE5"/>
      </a:accent4>
      <a:accent5>
        <a:srgbClr val="233951"/>
      </a:accent5>
      <a:accent6>
        <a:srgbClr val="7B8897"/>
      </a:accent6>
      <a:hlink>
        <a:srgbClr val="5ABDE5"/>
      </a:hlink>
      <a:folHlink>
        <a:srgbClr val="233951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spcFirstLastPara="0" vert="horz" wrap="square" lIns="91440" tIns="91440" rIns="91440" bIns="91440" numCol="1" spcCol="1270" rtlCol="0" anchor="ctr" anchorCtr="0">
        <a:noAutofit/>
      </a:bodyPr>
      <a:lstStyle>
        <a:defPPr algn="ctr" defTabSz="1466850" fontAlgn="auto">
          <a:lnSpc>
            <a:spcPct val="90000"/>
          </a:lnSpc>
          <a:spcAft>
            <a:spcPts val="0"/>
          </a:spcAft>
          <a:defRPr sz="1000" dirty="0" err="1" smtClean="0">
            <a:solidFill>
              <a:prstClr val="white"/>
            </a:solidFill>
            <a:latin typeface="Calibri Light" panose="020F0302020204030204" pitchFamily="34" charset="0"/>
          </a:defRPr>
        </a:defPPr>
      </a:lstStyle>
      <a:style>
        <a:lnRef idx="2">
          <a:schemeClr val="lt1">
            <a:hueOff val="0"/>
            <a:satOff val="0"/>
            <a:lumOff val="0"/>
            <a:alphaOff val="0"/>
          </a:schemeClr>
        </a:lnRef>
        <a:fillRef idx="1">
          <a:schemeClr val="accent1">
            <a:hueOff val="0"/>
            <a:satOff val="0"/>
            <a:lumOff val="0"/>
            <a:alphaOff val="0"/>
          </a:schemeClr>
        </a:fillRef>
        <a:effectRef idx="0">
          <a:schemeClr val="accent1">
            <a:hueOff val="0"/>
            <a:satOff val="0"/>
            <a:lumOff val="0"/>
            <a:alphaOff val="0"/>
          </a:schemeClr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15887" eaLnBrk="0" hangingPunct="0">
          <a:spcBef>
            <a:spcPct val="20000"/>
          </a:spcBef>
          <a:buClr>
            <a:srgbClr val="0099CC"/>
          </a:buClr>
          <a:buSzPct val="80000"/>
          <a:defRPr sz="1600" dirty="0" smtClean="0">
            <a:solidFill>
              <a:prstClr val="white">
                <a:lumMod val="50000"/>
              </a:prstClr>
            </a:solidFill>
            <a:latin typeface="Calibri Light" panose="020F0302020204030204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Edited Footer">
  <a:themeElements>
    <a:clrScheme name="City Tech Collaborative">
      <a:dk1>
        <a:srgbClr val="5ABDE5"/>
      </a:dk1>
      <a:lt1>
        <a:sysClr val="window" lastClr="FFFFFF"/>
      </a:lt1>
      <a:dk2>
        <a:srgbClr val="5ABDE5"/>
      </a:dk2>
      <a:lt2>
        <a:srgbClr val="FFFFFF"/>
      </a:lt2>
      <a:accent1>
        <a:srgbClr val="233951"/>
      </a:accent1>
      <a:accent2>
        <a:srgbClr val="D3D7DC"/>
      </a:accent2>
      <a:accent3>
        <a:srgbClr val="BA3535"/>
      </a:accent3>
      <a:accent4>
        <a:srgbClr val="5ABDE5"/>
      </a:accent4>
      <a:accent5>
        <a:srgbClr val="233951"/>
      </a:accent5>
      <a:accent6>
        <a:srgbClr val="7B8897"/>
      </a:accent6>
      <a:hlink>
        <a:srgbClr val="5ABDE5"/>
      </a:hlink>
      <a:folHlink>
        <a:srgbClr val="233951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spcFirstLastPara="0" vert="horz" wrap="square" lIns="91440" tIns="91440" rIns="91440" bIns="91440" numCol="1" spcCol="1270" rtlCol="0" anchor="ctr" anchorCtr="0">
        <a:noAutofit/>
      </a:bodyPr>
      <a:lstStyle>
        <a:defPPr algn="ctr" defTabSz="1466850" fontAlgn="auto">
          <a:lnSpc>
            <a:spcPct val="90000"/>
          </a:lnSpc>
          <a:spcAft>
            <a:spcPts val="0"/>
          </a:spcAft>
          <a:defRPr sz="1000" dirty="0" err="1" smtClean="0">
            <a:solidFill>
              <a:prstClr val="white"/>
            </a:solidFill>
            <a:latin typeface="Calibri Light" panose="020F0302020204030204" pitchFamily="34" charset="0"/>
          </a:defRPr>
        </a:defPPr>
      </a:lstStyle>
      <a:style>
        <a:lnRef idx="2">
          <a:schemeClr val="lt1">
            <a:hueOff val="0"/>
            <a:satOff val="0"/>
            <a:lumOff val="0"/>
            <a:alphaOff val="0"/>
          </a:schemeClr>
        </a:lnRef>
        <a:fillRef idx="1">
          <a:schemeClr val="accent1">
            <a:hueOff val="0"/>
            <a:satOff val="0"/>
            <a:lumOff val="0"/>
            <a:alphaOff val="0"/>
          </a:schemeClr>
        </a:fillRef>
        <a:effectRef idx="0">
          <a:schemeClr val="accent1">
            <a:hueOff val="0"/>
            <a:satOff val="0"/>
            <a:lumOff val="0"/>
            <a:alphaOff val="0"/>
          </a:schemeClr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15887" eaLnBrk="0" hangingPunct="0">
          <a:spcBef>
            <a:spcPct val="20000"/>
          </a:spcBef>
          <a:buClr>
            <a:srgbClr val="0099CC"/>
          </a:buClr>
          <a:buSzPct val="80000"/>
          <a:defRPr sz="1600" dirty="0" smtClean="0">
            <a:solidFill>
              <a:prstClr val="white">
                <a:lumMod val="50000"/>
              </a:prstClr>
            </a:solidFill>
            <a:latin typeface="Calibri Light" panose="020F0302020204030204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  <_dlc_DocId xmlns="551a458e-65db-435e-b85b-a09caf9638d4">PPFC4T7CMU3A-1444974804-52882</_dlc_DocId>
    <_dlc_DocIdUrl xmlns="551a458e-65db-435e-b85b-a09caf9638d4">
      <Url>https://uilabs365.sharepoint.com/sites/UILABS/_layouts/15/DocIdRedir.aspx?ID=PPFC4T7CMU3A-1444974804-52882</Url>
      <Description>PPFC4T7CMU3A-1444974804-52882</Description>
    </_dlc_DocIdUr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C00A9DFB7CD743B3A21E8E52CDC646" ma:contentTypeVersion="9" ma:contentTypeDescription="Create a new document." ma:contentTypeScope="" ma:versionID="3fab533a4023cc76e27ae28d7576882e">
  <xsd:schema xmlns:xsd="http://www.w3.org/2001/XMLSchema" xmlns:xs="http://www.w3.org/2001/XMLSchema" xmlns:p="http://schemas.microsoft.com/office/2006/metadata/properties" xmlns:ns2="551a458e-65db-435e-b85b-a09caf9638d4" xmlns:ns3="http://schemas.microsoft.com/sharepoint/v4" xmlns:ns4="14dd969e-34ab-4eb6-9e88-22fbce4771fb" targetNamespace="http://schemas.microsoft.com/office/2006/metadata/properties" ma:root="true" ma:fieldsID="7922b61b44af0ea7fd87a21e95f2fda3" ns2:_="" ns3:_="" ns4:_="">
    <xsd:import namespace="551a458e-65db-435e-b85b-a09caf9638d4"/>
    <xsd:import namespace="http://schemas.microsoft.com/sharepoint/v4"/>
    <xsd:import namespace="14dd969e-34ab-4eb6-9e88-22fbce4771fb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  <xsd:element ref="ns2:SharedWithDetails" minOccurs="0"/>
                <xsd:element ref="ns3:IconOverlay" minOccurs="0"/>
                <xsd:element ref="ns2:LastSharedByUser" minOccurs="0"/>
                <xsd:element ref="ns2:LastSharedByTime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1a458e-65db-435e-b85b-a09caf9638d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4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5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3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dd969e-34ab-4eb6-9e88-22fbce4771f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6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7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8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9" nillable="true" ma:displayName="MediaServiceAutoTags" ma:description="" ma:internalName="MediaServiceAutoTag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8B1F964A-F43A-4769-9C1E-1EE30F39543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3B4C250-C2E8-4229-ACA1-B14CC4D87CBF}">
  <ds:schemaRefs>
    <ds:schemaRef ds:uri="http://www.w3.org/XML/1998/namespace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sharepoint/v4"/>
    <ds:schemaRef ds:uri="http://schemas.microsoft.com/office/infopath/2007/PartnerControls"/>
    <ds:schemaRef ds:uri="http://purl.org/dc/terms/"/>
    <ds:schemaRef ds:uri="http://schemas.microsoft.com/office/2006/documentManagement/types"/>
    <ds:schemaRef ds:uri="14dd969e-34ab-4eb6-9e88-22fbce4771fb"/>
    <ds:schemaRef ds:uri="551a458e-65db-435e-b85b-a09caf9638d4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D50313A-480D-4162-A288-A59A866DDC1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51a458e-65db-435e-b85b-a09caf9638d4"/>
    <ds:schemaRef ds:uri="http://schemas.microsoft.com/sharepoint/v4"/>
    <ds:schemaRef ds:uri="14dd969e-34ab-4eb6-9e88-22fbce4771f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30736CA8-8A58-4504-BEE9-C652BD3060D9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789</TotalTime>
  <Words>200</Words>
  <Application>Microsoft Office PowerPoint</Application>
  <PresentationFormat>Widescreen</PresentationFormat>
  <Paragraphs>34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MS PGothic</vt:lpstr>
      <vt:lpstr>Arial</vt:lpstr>
      <vt:lpstr>Calibri</vt:lpstr>
      <vt:lpstr>Calibri Light</vt:lpstr>
      <vt:lpstr>Microsoft Sans Serif</vt:lpstr>
      <vt:lpstr>Wingdings</vt:lpstr>
      <vt:lpstr>Headers</vt:lpstr>
      <vt:lpstr>City Tech Collaborative</vt:lpstr>
      <vt:lpstr>Alternate Footer</vt:lpstr>
      <vt:lpstr>Edited Footer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I LABS</dc:creator>
  <cp:lastModifiedBy>Brenna Berman</cp:lastModifiedBy>
  <cp:revision>1271</cp:revision>
  <cp:lastPrinted>2016-03-23T18:51:47Z</cp:lastPrinted>
  <dcterms:created xsi:type="dcterms:W3CDTF">2014-03-11T18:40:33Z</dcterms:created>
  <dcterms:modified xsi:type="dcterms:W3CDTF">2018-03-24T21:36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6C00A9DFB7CD743B3A21E8E52CDC646</vt:lpwstr>
  </property>
  <property fmtid="{D5CDD505-2E9C-101B-9397-08002B2CF9AE}" pid="3" name="IsMyDocuments">
    <vt:bool>true</vt:bool>
  </property>
  <property fmtid="{D5CDD505-2E9C-101B-9397-08002B2CF9AE}" pid="4" name="_dlc_DocIdItemGuid">
    <vt:lpwstr>fba97b16-d44f-4a7e-8f8e-e6296d3993fa</vt:lpwstr>
  </property>
</Properties>
</file>